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1.xml" ContentType="application/vnd.openxmlformats-officedocument.presentationml.notesSlide+xml"/>
  <Override PartName="/ppt/charts/chart1.xml" ContentType="application/vnd.openxmlformats-officedocument.drawingml.chart+xml"/>
  <Override PartName="/ppt/tags/tag13.xml" ContentType="application/vnd.openxmlformats-officedocument.presentationml.tags+xml"/>
  <Override PartName="/ppt/notesSlides/notesSlide32.xml" ContentType="application/vnd.openxmlformats-officedocument.presentationml.notesSlide+xml"/>
  <Override PartName="/ppt/charts/chart2.xml" ContentType="application/vnd.openxmlformats-officedocument.drawingml.chart+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6"/>
  </p:notesMasterIdLst>
  <p:sldIdLst>
    <p:sldId id="1041" r:id="rId2"/>
    <p:sldId id="2145706225" r:id="rId3"/>
    <p:sldId id="2145706259" r:id="rId4"/>
    <p:sldId id="2145706275" r:id="rId5"/>
    <p:sldId id="2145706264" r:id="rId6"/>
    <p:sldId id="2145706265" r:id="rId7"/>
    <p:sldId id="2145706263" r:id="rId8"/>
    <p:sldId id="2145706280" r:id="rId9"/>
    <p:sldId id="2145706290" r:id="rId10"/>
    <p:sldId id="2145706226" r:id="rId11"/>
    <p:sldId id="2145706261" r:id="rId12"/>
    <p:sldId id="2145706258" r:id="rId13"/>
    <p:sldId id="2145706240" r:id="rId14"/>
    <p:sldId id="263" r:id="rId15"/>
    <p:sldId id="264" r:id="rId16"/>
    <p:sldId id="2145706291" r:id="rId17"/>
    <p:sldId id="2145706262" r:id="rId18"/>
    <p:sldId id="2145706292" r:id="rId19"/>
    <p:sldId id="2145706293" r:id="rId20"/>
    <p:sldId id="262" r:id="rId21"/>
    <p:sldId id="2145706294" r:id="rId22"/>
    <p:sldId id="2145706295" r:id="rId23"/>
    <p:sldId id="265" r:id="rId24"/>
    <p:sldId id="266" r:id="rId25"/>
    <p:sldId id="267" r:id="rId26"/>
    <p:sldId id="268" r:id="rId27"/>
    <p:sldId id="269" r:id="rId28"/>
    <p:sldId id="270" r:id="rId29"/>
    <p:sldId id="271" r:id="rId30"/>
    <p:sldId id="2145706246" r:id="rId31"/>
    <p:sldId id="2145706287" r:id="rId32"/>
    <p:sldId id="2145706288" r:id="rId33"/>
    <p:sldId id="2145706289" r:id="rId34"/>
    <p:sldId id="2145706247" r:id="rId35"/>
    <p:sldId id="2145706248" r:id="rId36"/>
    <p:sldId id="2145706282" r:id="rId37"/>
    <p:sldId id="2145706283" r:id="rId38"/>
    <p:sldId id="2145706285" r:id="rId39"/>
    <p:sldId id="2145706234" r:id="rId40"/>
    <p:sldId id="2145706220" r:id="rId41"/>
    <p:sldId id="2145706236" r:id="rId42"/>
    <p:sldId id="26422" r:id="rId43"/>
    <p:sldId id="2145706284" r:id="rId44"/>
    <p:sldId id="2145706266" r:id="rId4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BAB"/>
    <a:srgbClr val="272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161F74-B0AA-40DC-ADA6-35AF10BC3613}" v="39" dt="2024-07-14T08:15:45.8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03" autoAdjust="0"/>
    <p:restoredTop sz="91695" autoAdjust="0"/>
  </p:normalViewPr>
  <p:slideViewPr>
    <p:cSldViewPr snapToGrid="0">
      <p:cViewPr varScale="1">
        <p:scale>
          <a:sx n="103" d="100"/>
          <a:sy n="103" d="100"/>
        </p:scale>
        <p:origin x="768"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5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E3161F74-B0AA-40DC-ADA6-35AF10BC3613}"/>
    <pc:docChg chg="undo custSel addSld delSld modSld sldOrd delMainMaster">
      <pc:chgData name="Graf Thomas, INI-NET-VNC-HCS" userId="487bc3e3-9ce7-4cdd-b7b4-8899ea88d289" providerId="ADAL" clId="{E3161F74-B0AA-40DC-ADA6-35AF10BC3613}" dt="2024-07-15T10:20:57.308" v="1671" actId="20577"/>
      <pc:docMkLst>
        <pc:docMk/>
      </pc:docMkLst>
      <pc:sldChg chg="modSp mod">
        <pc:chgData name="Graf Thomas, INI-NET-VNC-HCS" userId="487bc3e3-9ce7-4cdd-b7b4-8899ea88d289" providerId="ADAL" clId="{E3161F74-B0AA-40DC-ADA6-35AF10BC3613}" dt="2024-07-15T10:20:57.308" v="1671" actId="20577"/>
        <pc:sldMkLst>
          <pc:docMk/>
          <pc:sldMk cId="3578665336" sldId="1041"/>
        </pc:sldMkLst>
        <pc:spChg chg="mod">
          <ac:chgData name="Graf Thomas, INI-NET-VNC-HCS" userId="487bc3e3-9ce7-4cdd-b7b4-8899ea88d289" providerId="ADAL" clId="{E3161F74-B0AA-40DC-ADA6-35AF10BC3613}" dt="2024-07-15T10:20:57.308" v="1671" actId="20577"/>
          <ac:spMkLst>
            <pc:docMk/>
            <pc:sldMk cId="3578665336" sldId="1041"/>
            <ac:spMk id="6" creationId="{6CAA0765-1318-4A03-8F91-D3ECC43D8FA7}"/>
          </ac:spMkLst>
        </pc:spChg>
      </pc:sldChg>
      <pc:sldChg chg="del">
        <pc:chgData name="Graf Thomas, INI-NET-VNC-HCS" userId="487bc3e3-9ce7-4cdd-b7b4-8899ea88d289" providerId="ADAL" clId="{E3161F74-B0AA-40DC-ADA6-35AF10BC3613}" dt="2024-07-14T08:15:52.498" v="1670" actId="47"/>
        <pc:sldMkLst>
          <pc:docMk/>
          <pc:sldMk cId="1779130522" sldId="26371"/>
        </pc:sldMkLst>
      </pc:sldChg>
      <pc:sldChg chg="add">
        <pc:chgData name="Graf Thomas, INI-NET-VNC-HCS" userId="487bc3e3-9ce7-4cdd-b7b4-8899ea88d289" providerId="ADAL" clId="{E3161F74-B0AA-40DC-ADA6-35AF10BC3613}" dt="2024-07-14T07:16:05.001" v="623"/>
        <pc:sldMkLst>
          <pc:docMk/>
          <pc:sldMk cId="1088069469" sldId="26422"/>
        </pc:sldMkLst>
      </pc:sldChg>
      <pc:sldChg chg="add">
        <pc:chgData name="Graf Thomas, INI-NET-VNC-HCS" userId="487bc3e3-9ce7-4cdd-b7b4-8899ea88d289" providerId="ADAL" clId="{E3161F74-B0AA-40DC-ADA6-35AF10BC3613}" dt="2024-07-14T07:15:42.407" v="622"/>
        <pc:sldMkLst>
          <pc:docMk/>
          <pc:sldMk cId="670772560" sldId="2145706220"/>
        </pc:sldMkLst>
      </pc:sldChg>
      <pc:sldChg chg="addSp delSp modSp mod">
        <pc:chgData name="Graf Thomas, INI-NET-VNC-HCS" userId="487bc3e3-9ce7-4cdd-b7b4-8899ea88d289" providerId="ADAL" clId="{E3161F74-B0AA-40DC-ADA6-35AF10BC3613}" dt="2024-07-14T06:37:21.846" v="65" actId="113"/>
        <pc:sldMkLst>
          <pc:docMk/>
          <pc:sldMk cId="1081037514" sldId="2145706225"/>
        </pc:sldMkLst>
        <pc:spChg chg="mod">
          <ac:chgData name="Graf Thomas, INI-NET-VNC-HCS" userId="487bc3e3-9ce7-4cdd-b7b4-8899ea88d289" providerId="ADAL" clId="{E3161F74-B0AA-40DC-ADA6-35AF10BC3613}" dt="2024-07-14T06:36:00.274" v="9" actId="2711"/>
          <ac:spMkLst>
            <pc:docMk/>
            <pc:sldMk cId="1081037514" sldId="2145706225"/>
            <ac:spMk id="3" creationId="{21A2E246-8977-0C56-8169-DA0A27B49547}"/>
          </ac:spMkLst>
        </pc:spChg>
        <pc:spChg chg="mod">
          <ac:chgData name="Graf Thomas, INI-NET-VNC-HCS" userId="487bc3e3-9ce7-4cdd-b7b4-8899ea88d289" providerId="ADAL" clId="{E3161F74-B0AA-40DC-ADA6-35AF10BC3613}" dt="2024-07-14T06:36:00.274" v="9" actId="2711"/>
          <ac:spMkLst>
            <pc:docMk/>
            <pc:sldMk cId="1081037514" sldId="2145706225"/>
            <ac:spMk id="4" creationId="{A20B2D5A-928F-260A-3CF1-C2C4CAA43CFA}"/>
          </ac:spMkLst>
        </pc:spChg>
        <pc:spChg chg="mod">
          <ac:chgData name="Graf Thomas, INI-NET-VNC-HCS" userId="487bc3e3-9ce7-4cdd-b7b4-8899ea88d289" providerId="ADAL" clId="{E3161F74-B0AA-40DC-ADA6-35AF10BC3613}" dt="2024-07-14T06:37:20.731" v="63" actId="113"/>
          <ac:spMkLst>
            <pc:docMk/>
            <pc:sldMk cId="1081037514" sldId="2145706225"/>
            <ac:spMk id="5" creationId="{66A4E115-1F77-20A8-3DA1-68ED2196E5C6}"/>
          </ac:spMkLst>
        </pc:spChg>
        <pc:spChg chg="mod">
          <ac:chgData name="Graf Thomas, INI-NET-VNC-HCS" userId="487bc3e3-9ce7-4cdd-b7b4-8899ea88d289" providerId="ADAL" clId="{E3161F74-B0AA-40DC-ADA6-35AF10BC3613}" dt="2024-07-14T06:36:00.274" v="9" actId="2711"/>
          <ac:spMkLst>
            <pc:docMk/>
            <pc:sldMk cId="1081037514" sldId="2145706225"/>
            <ac:spMk id="8" creationId="{677D70B8-28D4-9C31-9D94-D3052A1620BA}"/>
          </ac:spMkLst>
        </pc:spChg>
        <pc:spChg chg="mod">
          <ac:chgData name="Graf Thomas, INI-NET-VNC-HCS" userId="487bc3e3-9ce7-4cdd-b7b4-8899ea88d289" providerId="ADAL" clId="{E3161F74-B0AA-40DC-ADA6-35AF10BC3613}" dt="2024-07-14T06:36:00.274" v="9" actId="2711"/>
          <ac:spMkLst>
            <pc:docMk/>
            <pc:sldMk cId="1081037514" sldId="2145706225"/>
            <ac:spMk id="9" creationId="{A7D4BF0B-6AC3-4AA9-E8BD-1253A110E4C1}"/>
          </ac:spMkLst>
        </pc:spChg>
        <pc:spChg chg="mod">
          <ac:chgData name="Graf Thomas, INI-NET-VNC-HCS" userId="487bc3e3-9ce7-4cdd-b7b4-8899ea88d289" providerId="ADAL" clId="{E3161F74-B0AA-40DC-ADA6-35AF10BC3613}" dt="2024-07-14T06:36:00.274" v="9" actId="2711"/>
          <ac:spMkLst>
            <pc:docMk/>
            <pc:sldMk cId="1081037514" sldId="2145706225"/>
            <ac:spMk id="11" creationId="{BC202C79-EF00-4794-A5E7-54FD1AD6FFEC}"/>
          </ac:spMkLst>
        </pc:spChg>
        <pc:spChg chg="mod">
          <ac:chgData name="Graf Thomas, INI-NET-VNC-HCS" userId="487bc3e3-9ce7-4cdd-b7b4-8899ea88d289" providerId="ADAL" clId="{E3161F74-B0AA-40DC-ADA6-35AF10BC3613}" dt="2024-07-14T06:36:00.274" v="9" actId="2711"/>
          <ac:spMkLst>
            <pc:docMk/>
            <pc:sldMk cId="1081037514" sldId="2145706225"/>
            <ac:spMk id="12" creationId="{D0BEF0AD-9BD5-957F-DF20-EA76A3E6320A}"/>
          </ac:spMkLst>
        </pc:spChg>
        <pc:spChg chg="mod">
          <ac:chgData name="Graf Thomas, INI-NET-VNC-HCS" userId="487bc3e3-9ce7-4cdd-b7b4-8899ea88d289" providerId="ADAL" clId="{E3161F74-B0AA-40DC-ADA6-35AF10BC3613}" dt="2024-07-14T06:36:51.608" v="57" actId="113"/>
          <ac:spMkLst>
            <pc:docMk/>
            <pc:sldMk cId="1081037514" sldId="2145706225"/>
            <ac:spMk id="14" creationId="{A1EA8359-DC79-8122-1266-D00A47BFEBE7}"/>
          </ac:spMkLst>
        </pc:spChg>
        <pc:spChg chg="mod">
          <ac:chgData name="Graf Thomas, INI-NET-VNC-HCS" userId="487bc3e3-9ce7-4cdd-b7b4-8899ea88d289" providerId="ADAL" clId="{E3161F74-B0AA-40DC-ADA6-35AF10BC3613}" dt="2024-07-14T06:36:00.274" v="9" actId="2711"/>
          <ac:spMkLst>
            <pc:docMk/>
            <pc:sldMk cId="1081037514" sldId="2145706225"/>
            <ac:spMk id="15" creationId="{F228A6D5-55A8-F878-625A-2CFBC2A4CC8C}"/>
          </ac:spMkLst>
        </pc:spChg>
        <pc:spChg chg="mod">
          <ac:chgData name="Graf Thomas, INI-NET-VNC-HCS" userId="487bc3e3-9ce7-4cdd-b7b4-8899ea88d289" providerId="ADAL" clId="{E3161F74-B0AA-40DC-ADA6-35AF10BC3613}" dt="2024-07-14T06:36:00.274" v="9" actId="2711"/>
          <ac:spMkLst>
            <pc:docMk/>
            <pc:sldMk cId="1081037514" sldId="2145706225"/>
            <ac:spMk id="16" creationId="{B76F4586-6C16-9488-8080-DC2366DDC57B}"/>
          </ac:spMkLst>
        </pc:spChg>
        <pc:spChg chg="mod">
          <ac:chgData name="Graf Thomas, INI-NET-VNC-HCS" userId="487bc3e3-9ce7-4cdd-b7b4-8899ea88d289" providerId="ADAL" clId="{E3161F74-B0AA-40DC-ADA6-35AF10BC3613}" dt="2024-07-14T06:36:00.274" v="9" actId="2711"/>
          <ac:spMkLst>
            <pc:docMk/>
            <pc:sldMk cId="1081037514" sldId="2145706225"/>
            <ac:spMk id="18" creationId="{710443C2-A213-C93E-D7DE-9256AD74C9AA}"/>
          </ac:spMkLst>
        </pc:spChg>
        <pc:spChg chg="mod">
          <ac:chgData name="Graf Thomas, INI-NET-VNC-HCS" userId="487bc3e3-9ce7-4cdd-b7b4-8899ea88d289" providerId="ADAL" clId="{E3161F74-B0AA-40DC-ADA6-35AF10BC3613}" dt="2024-07-14T06:36:00.274" v="9" actId="2711"/>
          <ac:spMkLst>
            <pc:docMk/>
            <pc:sldMk cId="1081037514" sldId="2145706225"/>
            <ac:spMk id="19" creationId="{B0C54029-2E2D-F6C0-FCED-13B25FD81DFE}"/>
          </ac:spMkLst>
        </pc:spChg>
        <pc:spChg chg="mod">
          <ac:chgData name="Graf Thomas, INI-NET-VNC-HCS" userId="487bc3e3-9ce7-4cdd-b7b4-8899ea88d289" providerId="ADAL" clId="{E3161F74-B0AA-40DC-ADA6-35AF10BC3613}" dt="2024-07-14T06:36:00.274" v="9" actId="2711"/>
          <ac:spMkLst>
            <pc:docMk/>
            <pc:sldMk cId="1081037514" sldId="2145706225"/>
            <ac:spMk id="21" creationId="{8B96C491-62EA-C102-02AE-9C35C6819F7C}"/>
          </ac:spMkLst>
        </pc:spChg>
        <pc:spChg chg="mod">
          <ac:chgData name="Graf Thomas, INI-NET-VNC-HCS" userId="487bc3e3-9ce7-4cdd-b7b4-8899ea88d289" providerId="ADAL" clId="{E3161F74-B0AA-40DC-ADA6-35AF10BC3613}" dt="2024-07-14T06:36:00.274" v="9" actId="2711"/>
          <ac:spMkLst>
            <pc:docMk/>
            <pc:sldMk cId="1081037514" sldId="2145706225"/>
            <ac:spMk id="22" creationId="{CD5EEA4E-05C6-79F3-6419-252AE948AC1F}"/>
          </ac:spMkLst>
        </pc:spChg>
        <pc:spChg chg="mod">
          <ac:chgData name="Graf Thomas, INI-NET-VNC-HCS" userId="487bc3e3-9ce7-4cdd-b7b4-8899ea88d289" providerId="ADAL" clId="{E3161F74-B0AA-40DC-ADA6-35AF10BC3613}" dt="2024-07-14T06:36:00.274" v="9" actId="2711"/>
          <ac:spMkLst>
            <pc:docMk/>
            <pc:sldMk cId="1081037514" sldId="2145706225"/>
            <ac:spMk id="24" creationId="{AF618EBE-6571-2ABA-C463-166B9EC84BF4}"/>
          </ac:spMkLst>
        </pc:spChg>
        <pc:spChg chg="mod">
          <ac:chgData name="Graf Thomas, INI-NET-VNC-HCS" userId="487bc3e3-9ce7-4cdd-b7b4-8899ea88d289" providerId="ADAL" clId="{E3161F74-B0AA-40DC-ADA6-35AF10BC3613}" dt="2024-07-14T06:36:00.274" v="9" actId="2711"/>
          <ac:spMkLst>
            <pc:docMk/>
            <pc:sldMk cId="1081037514" sldId="2145706225"/>
            <ac:spMk id="25" creationId="{6E4AAC49-253A-16CD-EEDC-0B1795F09A96}"/>
          </ac:spMkLst>
        </pc:spChg>
        <pc:spChg chg="mod">
          <ac:chgData name="Graf Thomas, INI-NET-VNC-HCS" userId="487bc3e3-9ce7-4cdd-b7b4-8899ea88d289" providerId="ADAL" clId="{E3161F74-B0AA-40DC-ADA6-35AF10BC3613}" dt="2024-07-14T06:36:33.275" v="56" actId="1036"/>
          <ac:spMkLst>
            <pc:docMk/>
            <pc:sldMk cId="1081037514" sldId="2145706225"/>
            <ac:spMk id="29" creationId="{5DF5E834-66E3-AE49-4040-1D628970A3FC}"/>
          </ac:spMkLst>
        </pc:spChg>
        <pc:spChg chg="mod">
          <ac:chgData name="Graf Thomas, INI-NET-VNC-HCS" userId="487bc3e3-9ce7-4cdd-b7b4-8899ea88d289" providerId="ADAL" clId="{E3161F74-B0AA-40DC-ADA6-35AF10BC3613}" dt="2024-07-14T06:36:33.275" v="56" actId="1036"/>
          <ac:spMkLst>
            <pc:docMk/>
            <pc:sldMk cId="1081037514" sldId="2145706225"/>
            <ac:spMk id="30" creationId="{BA1C20F7-8218-7EF6-0AE8-992862F0E030}"/>
          </ac:spMkLst>
        </pc:spChg>
        <pc:spChg chg="del">
          <ac:chgData name="Graf Thomas, INI-NET-VNC-HCS" userId="487bc3e3-9ce7-4cdd-b7b4-8899ea88d289" providerId="ADAL" clId="{E3161F74-B0AA-40DC-ADA6-35AF10BC3613}" dt="2024-07-14T06:35:33.905" v="7" actId="478"/>
          <ac:spMkLst>
            <pc:docMk/>
            <pc:sldMk cId="1081037514" sldId="2145706225"/>
            <ac:spMk id="39" creationId="{E2C5DAC4-E571-363C-E57D-8F3EA7B6E611}"/>
          </ac:spMkLst>
        </pc:spChg>
        <pc:spChg chg="mod">
          <ac:chgData name="Graf Thomas, INI-NET-VNC-HCS" userId="487bc3e3-9ce7-4cdd-b7b4-8899ea88d289" providerId="ADAL" clId="{E3161F74-B0AA-40DC-ADA6-35AF10BC3613}" dt="2024-07-14T06:37:21.846" v="65" actId="113"/>
          <ac:spMkLst>
            <pc:docMk/>
            <pc:sldMk cId="1081037514" sldId="2145706225"/>
            <ac:spMk id="41" creationId="{1686B893-78A4-3D56-EECA-A2AEF814D57E}"/>
          </ac:spMkLst>
        </pc:spChg>
        <pc:spChg chg="mod">
          <ac:chgData name="Graf Thomas, INI-NET-VNC-HCS" userId="487bc3e3-9ce7-4cdd-b7b4-8899ea88d289" providerId="ADAL" clId="{E3161F74-B0AA-40DC-ADA6-35AF10BC3613}" dt="2024-07-14T06:36:33.275" v="56" actId="1036"/>
          <ac:spMkLst>
            <pc:docMk/>
            <pc:sldMk cId="1081037514" sldId="2145706225"/>
            <ac:spMk id="43" creationId="{0BE6D769-3D3F-136C-2542-47D8CD603382}"/>
          </ac:spMkLst>
        </pc:spChg>
        <pc:spChg chg="add mod">
          <ac:chgData name="Graf Thomas, INI-NET-VNC-HCS" userId="487bc3e3-9ce7-4cdd-b7b4-8899ea88d289" providerId="ADAL" clId="{E3161F74-B0AA-40DC-ADA6-35AF10BC3613}" dt="2024-07-14T06:37:20.082" v="62" actId="113"/>
          <ac:spMkLst>
            <pc:docMk/>
            <pc:sldMk cId="1081037514" sldId="2145706225"/>
            <ac:spMk id="44" creationId="{3AEDF2F7-CBB1-37EC-1E76-291921B5FC70}"/>
          </ac:spMkLst>
        </pc:spChg>
        <pc:spChg chg="add del mod">
          <ac:chgData name="Graf Thomas, INI-NET-VNC-HCS" userId="487bc3e3-9ce7-4cdd-b7b4-8899ea88d289" providerId="ADAL" clId="{E3161F74-B0AA-40DC-ADA6-35AF10BC3613}" dt="2024-07-14T06:35:09.551" v="5"/>
          <ac:spMkLst>
            <pc:docMk/>
            <pc:sldMk cId="1081037514" sldId="2145706225"/>
            <ac:spMk id="45" creationId="{5E46F8C3-5061-DCFA-8537-71B128389C77}"/>
          </ac:spMkLst>
        </pc:spChg>
        <pc:spChg chg="add mod">
          <ac:chgData name="Graf Thomas, INI-NET-VNC-HCS" userId="487bc3e3-9ce7-4cdd-b7b4-8899ea88d289" providerId="ADAL" clId="{E3161F74-B0AA-40DC-ADA6-35AF10BC3613}" dt="2024-07-14T06:36:33.275" v="56" actId="1036"/>
          <ac:spMkLst>
            <pc:docMk/>
            <pc:sldMk cId="1081037514" sldId="2145706225"/>
            <ac:spMk id="46" creationId="{739358FF-EF3C-19A5-B66E-56764914554A}"/>
          </ac:spMkLst>
        </pc:spChg>
        <pc:spChg chg="del">
          <ac:chgData name="Graf Thomas, INI-NET-VNC-HCS" userId="487bc3e3-9ce7-4cdd-b7b4-8899ea88d289" providerId="ADAL" clId="{E3161F74-B0AA-40DC-ADA6-35AF10BC3613}" dt="2024-07-14T06:35:30.795" v="6" actId="478"/>
          <ac:spMkLst>
            <pc:docMk/>
            <pc:sldMk cId="1081037514" sldId="2145706225"/>
            <ac:spMk id="49" creationId="{9DA38AA2-A8F2-8D1B-FF42-9920ACF088FF}"/>
          </ac:spMkLst>
        </pc:spChg>
        <pc:spChg chg="del">
          <ac:chgData name="Graf Thomas, INI-NET-VNC-HCS" userId="487bc3e3-9ce7-4cdd-b7b4-8899ea88d289" providerId="ADAL" clId="{E3161F74-B0AA-40DC-ADA6-35AF10BC3613}" dt="2024-07-14T06:34:38.551" v="0" actId="478"/>
          <ac:spMkLst>
            <pc:docMk/>
            <pc:sldMk cId="1081037514" sldId="2145706225"/>
            <ac:spMk id="50" creationId="{E6F4D9EF-7813-54D5-B0A7-BB6DFF65B9B1}"/>
          </ac:spMkLst>
        </pc:spChg>
        <pc:spChg chg="add mod">
          <ac:chgData name="Graf Thomas, INI-NET-VNC-HCS" userId="487bc3e3-9ce7-4cdd-b7b4-8899ea88d289" providerId="ADAL" clId="{E3161F74-B0AA-40DC-ADA6-35AF10BC3613}" dt="2024-07-14T06:36:33.275" v="56" actId="1036"/>
          <ac:spMkLst>
            <pc:docMk/>
            <pc:sldMk cId="1081037514" sldId="2145706225"/>
            <ac:spMk id="51" creationId="{8B2D3939-F517-F366-148A-DF75104D4638}"/>
          </ac:spMkLst>
        </pc:spChg>
        <pc:grpChg chg="mod">
          <ac:chgData name="Graf Thomas, INI-NET-VNC-HCS" userId="487bc3e3-9ce7-4cdd-b7b4-8899ea88d289" providerId="ADAL" clId="{E3161F74-B0AA-40DC-ADA6-35AF10BC3613}" dt="2024-07-14T06:36:33.275" v="56" actId="1036"/>
          <ac:grpSpMkLst>
            <pc:docMk/>
            <pc:sldMk cId="1081037514" sldId="2145706225"/>
            <ac:grpSpMk id="2" creationId="{593A3D2C-AF3C-4647-1B02-6C5086C62287}"/>
          </ac:grpSpMkLst>
        </pc:grpChg>
        <pc:grpChg chg="mod">
          <ac:chgData name="Graf Thomas, INI-NET-VNC-HCS" userId="487bc3e3-9ce7-4cdd-b7b4-8899ea88d289" providerId="ADAL" clId="{E3161F74-B0AA-40DC-ADA6-35AF10BC3613}" dt="2024-07-14T06:36:33.275" v="56" actId="1036"/>
          <ac:grpSpMkLst>
            <pc:docMk/>
            <pc:sldMk cId="1081037514" sldId="2145706225"/>
            <ac:grpSpMk id="7" creationId="{746914D8-DC97-6FCE-CCEC-831AF8343A92}"/>
          </ac:grpSpMkLst>
        </pc:grpChg>
        <pc:grpChg chg="mod">
          <ac:chgData name="Graf Thomas, INI-NET-VNC-HCS" userId="487bc3e3-9ce7-4cdd-b7b4-8899ea88d289" providerId="ADAL" clId="{E3161F74-B0AA-40DC-ADA6-35AF10BC3613}" dt="2024-07-14T06:36:33.275" v="56" actId="1036"/>
          <ac:grpSpMkLst>
            <pc:docMk/>
            <pc:sldMk cId="1081037514" sldId="2145706225"/>
            <ac:grpSpMk id="10" creationId="{2A39462A-F04D-B596-7A41-2767D485510C}"/>
          </ac:grpSpMkLst>
        </pc:grpChg>
        <pc:grpChg chg="mod">
          <ac:chgData name="Graf Thomas, INI-NET-VNC-HCS" userId="487bc3e3-9ce7-4cdd-b7b4-8899ea88d289" providerId="ADAL" clId="{E3161F74-B0AA-40DC-ADA6-35AF10BC3613}" dt="2024-07-14T06:36:33.275" v="56" actId="1036"/>
          <ac:grpSpMkLst>
            <pc:docMk/>
            <pc:sldMk cId="1081037514" sldId="2145706225"/>
            <ac:grpSpMk id="13" creationId="{C27136FF-F3FA-F76D-A713-2F31CB874934}"/>
          </ac:grpSpMkLst>
        </pc:grpChg>
        <pc:grpChg chg="mod">
          <ac:chgData name="Graf Thomas, INI-NET-VNC-HCS" userId="487bc3e3-9ce7-4cdd-b7b4-8899ea88d289" providerId="ADAL" clId="{E3161F74-B0AA-40DC-ADA6-35AF10BC3613}" dt="2024-07-14T06:36:33.275" v="56" actId="1036"/>
          <ac:grpSpMkLst>
            <pc:docMk/>
            <pc:sldMk cId="1081037514" sldId="2145706225"/>
            <ac:grpSpMk id="17" creationId="{CEB0384D-AE7F-401C-F7FF-BDAEA866A31A}"/>
          </ac:grpSpMkLst>
        </pc:grpChg>
        <pc:grpChg chg="mod">
          <ac:chgData name="Graf Thomas, INI-NET-VNC-HCS" userId="487bc3e3-9ce7-4cdd-b7b4-8899ea88d289" providerId="ADAL" clId="{E3161F74-B0AA-40DC-ADA6-35AF10BC3613}" dt="2024-07-14T06:36:33.275" v="56" actId="1036"/>
          <ac:grpSpMkLst>
            <pc:docMk/>
            <pc:sldMk cId="1081037514" sldId="2145706225"/>
            <ac:grpSpMk id="20" creationId="{1B5435B3-AE86-5E3B-7DD7-612D9AD30695}"/>
          </ac:grpSpMkLst>
        </pc:grpChg>
        <pc:grpChg chg="mod">
          <ac:chgData name="Graf Thomas, INI-NET-VNC-HCS" userId="487bc3e3-9ce7-4cdd-b7b4-8899ea88d289" providerId="ADAL" clId="{E3161F74-B0AA-40DC-ADA6-35AF10BC3613}" dt="2024-07-14T06:36:33.275" v="56" actId="1036"/>
          <ac:grpSpMkLst>
            <pc:docMk/>
            <pc:sldMk cId="1081037514" sldId="2145706225"/>
            <ac:grpSpMk id="23" creationId="{43DA79DF-E42D-79DA-2E63-37571E43F0EB}"/>
          </ac:grpSpMkLst>
        </pc:grpChg>
        <pc:picChg chg="mod">
          <ac:chgData name="Graf Thomas, INI-NET-VNC-HCS" userId="487bc3e3-9ce7-4cdd-b7b4-8899ea88d289" providerId="ADAL" clId="{E3161F74-B0AA-40DC-ADA6-35AF10BC3613}" dt="2024-07-14T06:36:33.275" v="56" actId="1036"/>
          <ac:picMkLst>
            <pc:docMk/>
            <pc:sldMk cId="1081037514" sldId="2145706225"/>
            <ac:picMk id="27" creationId="{2C9830F3-CBF4-D372-DBC5-8AB3BCB5DD2A}"/>
          </ac:picMkLst>
        </pc:picChg>
        <pc:picChg chg="mod">
          <ac:chgData name="Graf Thomas, INI-NET-VNC-HCS" userId="487bc3e3-9ce7-4cdd-b7b4-8899ea88d289" providerId="ADAL" clId="{E3161F74-B0AA-40DC-ADA6-35AF10BC3613}" dt="2024-07-14T06:36:33.275" v="56" actId="1036"/>
          <ac:picMkLst>
            <pc:docMk/>
            <pc:sldMk cId="1081037514" sldId="2145706225"/>
            <ac:picMk id="28" creationId="{17EB060B-2351-6AC0-7856-F33CB052400F}"/>
          </ac:picMkLst>
        </pc:picChg>
        <pc:picChg chg="mod">
          <ac:chgData name="Graf Thomas, INI-NET-VNC-HCS" userId="487bc3e3-9ce7-4cdd-b7b4-8899ea88d289" providerId="ADAL" clId="{E3161F74-B0AA-40DC-ADA6-35AF10BC3613}" dt="2024-07-14T06:36:33.275" v="56" actId="1036"/>
          <ac:picMkLst>
            <pc:docMk/>
            <pc:sldMk cId="1081037514" sldId="2145706225"/>
            <ac:picMk id="31" creationId="{17DF8467-9125-3982-1295-79F29C9B0DC8}"/>
          </ac:picMkLst>
        </pc:picChg>
        <pc:picChg chg="mod">
          <ac:chgData name="Graf Thomas, INI-NET-VNC-HCS" userId="487bc3e3-9ce7-4cdd-b7b4-8899ea88d289" providerId="ADAL" clId="{E3161F74-B0AA-40DC-ADA6-35AF10BC3613}" dt="2024-07-14T06:36:33.275" v="56" actId="1036"/>
          <ac:picMkLst>
            <pc:docMk/>
            <pc:sldMk cId="1081037514" sldId="2145706225"/>
            <ac:picMk id="32" creationId="{C770A491-1DB5-77FC-712B-35F7A47E2F99}"/>
          </ac:picMkLst>
        </pc:picChg>
        <pc:picChg chg="mod">
          <ac:chgData name="Graf Thomas, INI-NET-VNC-HCS" userId="487bc3e3-9ce7-4cdd-b7b4-8899ea88d289" providerId="ADAL" clId="{E3161F74-B0AA-40DC-ADA6-35AF10BC3613}" dt="2024-07-14T06:36:33.275" v="56" actId="1036"/>
          <ac:picMkLst>
            <pc:docMk/>
            <pc:sldMk cId="1081037514" sldId="2145706225"/>
            <ac:picMk id="33" creationId="{17CD1AF5-AD78-AA80-9E26-C4515CC45BFA}"/>
          </ac:picMkLst>
        </pc:picChg>
        <pc:picChg chg="mod">
          <ac:chgData name="Graf Thomas, INI-NET-VNC-HCS" userId="487bc3e3-9ce7-4cdd-b7b4-8899ea88d289" providerId="ADAL" clId="{E3161F74-B0AA-40DC-ADA6-35AF10BC3613}" dt="2024-07-14T06:36:33.275" v="56" actId="1036"/>
          <ac:picMkLst>
            <pc:docMk/>
            <pc:sldMk cId="1081037514" sldId="2145706225"/>
            <ac:picMk id="34" creationId="{0DF49D5E-4B86-6869-98D7-DE092FC30B18}"/>
          </ac:picMkLst>
        </pc:picChg>
        <pc:picChg chg="mod">
          <ac:chgData name="Graf Thomas, INI-NET-VNC-HCS" userId="487bc3e3-9ce7-4cdd-b7b4-8899ea88d289" providerId="ADAL" clId="{E3161F74-B0AA-40DC-ADA6-35AF10BC3613}" dt="2024-07-14T06:36:33.275" v="56" actId="1036"/>
          <ac:picMkLst>
            <pc:docMk/>
            <pc:sldMk cId="1081037514" sldId="2145706225"/>
            <ac:picMk id="35" creationId="{76768564-2BA7-E325-FE43-6D4CE762CDAA}"/>
          </ac:picMkLst>
        </pc:picChg>
        <pc:picChg chg="mod">
          <ac:chgData name="Graf Thomas, INI-NET-VNC-HCS" userId="487bc3e3-9ce7-4cdd-b7b4-8899ea88d289" providerId="ADAL" clId="{E3161F74-B0AA-40DC-ADA6-35AF10BC3613}" dt="2024-07-14T06:36:33.275" v="56" actId="1036"/>
          <ac:picMkLst>
            <pc:docMk/>
            <pc:sldMk cId="1081037514" sldId="2145706225"/>
            <ac:picMk id="36" creationId="{BA0A7074-FC27-6B8B-F899-8DDE2533BB10}"/>
          </ac:picMkLst>
        </pc:picChg>
        <pc:picChg chg="mod">
          <ac:chgData name="Graf Thomas, INI-NET-VNC-HCS" userId="487bc3e3-9ce7-4cdd-b7b4-8899ea88d289" providerId="ADAL" clId="{E3161F74-B0AA-40DC-ADA6-35AF10BC3613}" dt="2024-07-14T06:36:33.275" v="56" actId="1036"/>
          <ac:picMkLst>
            <pc:docMk/>
            <pc:sldMk cId="1081037514" sldId="2145706225"/>
            <ac:picMk id="37" creationId="{D966A7CE-25D4-DED2-6D45-788D6CB73BA2}"/>
          </ac:picMkLst>
        </pc:picChg>
        <pc:cxnChg chg="mod">
          <ac:chgData name="Graf Thomas, INI-NET-VNC-HCS" userId="487bc3e3-9ce7-4cdd-b7b4-8899ea88d289" providerId="ADAL" clId="{E3161F74-B0AA-40DC-ADA6-35AF10BC3613}" dt="2024-07-14T06:36:33.275" v="56" actId="1036"/>
          <ac:cxnSpMkLst>
            <pc:docMk/>
            <pc:sldMk cId="1081037514" sldId="2145706225"/>
            <ac:cxnSpMk id="26" creationId="{E14B17EC-9407-E3A2-1F7C-D47095BE2DDB}"/>
          </ac:cxnSpMkLst>
        </pc:cxnChg>
        <pc:cxnChg chg="mod">
          <ac:chgData name="Graf Thomas, INI-NET-VNC-HCS" userId="487bc3e3-9ce7-4cdd-b7b4-8899ea88d289" providerId="ADAL" clId="{E3161F74-B0AA-40DC-ADA6-35AF10BC3613}" dt="2024-07-14T06:36:33.275" v="56" actId="1036"/>
          <ac:cxnSpMkLst>
            <pc:docMk/>
            <pc:sldMk cId="1081037514" sldId="2145706225"/>
            <ac:cxnSpMk id="38" creationId="{10DC3853-02C8-D495-EDB1-B0129F6F9E30}"/>
          </ac:cxnSpMkLst>
        </pc:cxnChg>
        <pc:cxnChg chg="mod">
          <ac:chgData name="Graf Thomas, INI-NET-VNC-HCS" userId="487bc3e3-9ce7-4cdd-b7b4-8899ea88d289" providerId="ADAL" clId="{E3161F74-B0AA-40DC-ADA6-35AF10BC3613}" dt="2024-07-14T06:36:33.275" v="56" actId="1036"/>
          <ac:cxnSpMkLst>
            <pc:docMk/>
            <pc:sldMk cId="1081037514" sldId="2145706225"/>
            <ac:cxnSpMk id="40" creationId="{9BC6E6D7-2688-CCDB-6A6C-7880291A8339}"/>
          </ac:cxnSpMkLst>
        </pc:cxnChg>
        <pc:cxnChg chg="mod">
          <ac:chgData name="Graf Thomas, INI-NET-VNC-HCS" userId="487bc3e3-9ce7-4cdd-b7b4-8899ea88d289" providerId="ADAL" clId="{E3161F74-B0AA-40DC-ADA6-35AF10BC3613}" dt="2024-07-14T06:36:33.275" v="56" actId="1036"/>
          <ac:cxnSpMkLst>
            <pc:docMk/>
            <pc:sldMk cId="1081037514" sldId="2145706225"/>
            <ac:cxnSpMk id="42" creationId="{3CD8EA4A-314A-BB28-E712-414D5F01E35F}"/>
          </ac:cxnSpMkLst>
        </pc:cxnChg>
        <pc:cxnChg chg="mod">
          <ac:chgData name="Graf Thomas, INI-NET-VNC-HCS" userId="487bc3e3-9ce7-4cdd-b7b4-8899ea88d289" providerId="ADAL" clId="{E3161F74-B0AA-40DC-ADA6-35AF10BC3613}" dt="2024-07-14T06:36:33.275" v="56" actId="1036"/>
          <ac:cxnSpMkLst>
            <pc:docMk/>
            <pc:sldMk cId="1081037514" sldId="2145706225"/>
            <ac:cxnSpMk id="47" creationId="{1E3CC50D-6BF1-E751-D746-D130EE998D4B}"/>
          </ac:cxnSpMkLst>
        </pc:cxnChg>
      </pc:sldChg>
      <pc:sldChg chg="ord">
        <pc:chgData name="Graf Thomas, INI-NET-VNC-HCS" userId="487bc3e3-9ce7-4cdd-b7b4-8899ea88d289" providerId="ADAL" clId="{E3161F74-B0AA-40DC-ADA6-35AF10BC3613}" dt="2024-07-14T07:15:13.281" v="621"/>
        <pc:sldMkLst>
          <pc:docMk/>
          <pc:sldMk cId="663711217" sldId="2145706234"/>
        </pc:sldMkLst>
      </pc:sldChg>
      <pc:sldChg chg="add del">
        <pc:chgData name="Graf Thomas, INI-NET-VNC-HCS" userId="487bc3e3-9ce7-4cdd-b7b4-8899ea88d289" providerId="ADAL" clId="{E3161F74-B0AA-40DC-ADA6-35AF10BC3613}" dt="2024-07-14T07:16:33.237" v="624"/>
        <pc:sldMkLst>
          <pc:docMk/>
          <pc:sldMk cId="3864283889" sldId="2145706236"/>
        </pc:sldMkLst>
      </pc:sldChg>
      <pc:sldChg chg="del">
        <pc:chgData name="Graf Thomas, INI-NET-VNC-HCS" userId="487bc3e3-9ce7-4cdd-b7b4-8899ea88d289" providerId="ADAL" clId="{E3161F74-B0AA-40DC-ADA6-35AF10BC3613}" dt="2024-07-14T08:00:09.127" v="1645" actId="47"/>
        <pc:sldMkLst>
          <pc:docMk/>
          <pc:sldMk cId="2617504443" sldId="2145706242"/>
        </pc:sldMkLst>
      </pc:sldChg>
      <pc:sldChg chg="addSp delSp modSp add mod">
        <pc:chgData name="Graf Thomas, INI-NET-VNC-HCS" userId="487bc3e3-9ce7-4cdd-b7b4-8899ea88d289" providerId="ADAL" clId="{E3161F74-B0AA-40DC-ADA6-35AF10BC3613}" dt="2024-07-14T07:55:45.908" v="1558" actId="20577"/>
        <pc:sldMkLst>
          <pc:docMk/>
          <pc:sldMk cId="2330400467" sldId="2145706246"/>
        </pc:sldMkLst>
        <pc:spChg chg="add mod">
          <ac:chgData name="Graf Thomas, INI-NET-VNC-HCS" userId="487bc3e3-9ce7-4cdd-b7b4-8899ea88d289" providerId="ADAL" clId="{E3161F74-B0AA-40DC-ADA6-35AF10BC3613}" dt="2024-07-14T07:55:45.908" v="1558" actId="20577"/>
          <ac:spMkLst>
            <pc:docMk/>
            <pc:sldMk cId="2330400467" sldId="2145706246"/>
            <ac:spMk id="3" creationId="{8958B48B-ADF9-4C08-071D-E75646D4DABC}"/>
          </ac:spMkLst>
        </pc:spChg>
        <pc:spChg chg="del">
          <ac:chgData name="Graf Thomas, INI-NET-VNC-HCS" userId="487bc3e3-9ce7-4cdd-b7b4-8899ea88d289" providerId="ADAL" clId="{E3161F74-B0AA-40DC-ADA6-35AF10BC3613}" dt="2024-07-14T07:29:02.363" v="693" actId="478"/>
          <ac:spMkLst>
            <pc:docMk/>
            <pc:sldMk cId="2330400467" sldId="2145706246"/>
            <ac:spMk id="5" creationId="{BE27FBF8-9F9C-61DE-9B1B-80BC953FE3FD}"/>
          </ac:spMkLst>
        </pc:spChg>
        <pc:spChg chg="add mod">
          <ac:chgData name="Graf Thomas, INI-NET-VNC-HCS" userId="487bc3e3-9ce7-4cdd-b7b4-8899ea88d289" providerId="ADAL" clId="{E3161F74-B0AA-40DC-ADA6-35AF10BC3613}" dt="2024-07-14T07:29:39.143" v="698" actId="692"/>
          <ac:spMkLst>
            <pc:docMk/>
            <pc:sldMk cId="2330400467" sldId="2145706246"/>
            <ac:spMk id="9" creationId="{EB8EE06A-9C5A-1497-6091-14DF67137B7E}"/>
          </ac:spMkLst>
        </pc:spChg>
        <pc:spChg chg="add mod">
          <ac:chgData name="Graf Thomas, INI-NET-VNC-HCS" userId="487bc3e3-9ce7-4cdd-b7b4-8899ea88d289" providerId="ADAL" clId="{E3161F74-B0AA-40DC-ADA6-35AF10BC3613}" dt="2024-07-14T07:29:39.143" v="698" actId="692"/>
          <ac:spMkLst>
            <pc:docMk/>
            <pc:sldMk cId="2330400467" sldId="2145706246"/>
            <ac:spMk id="10" creationId="{71CF02A3-82A0-40D0-9B64-6B9FC20586A6}"/>
          </ac:spMkLst>
        </pc:spChg>
        <pc:spChg chg="add mod">
          <ac:chgData name="Graf Thomas, INI-NET-VNC-HCS" userId="487bc3e3-9ce7-4cdd-b7b4-8899ea88d289" providerId="ADAL" clId="{E3161F74-B0AA-40DC-ADA6-35AF10BC3613}" dt="2024-07-14T07:29:39.143" v="698" actId="692"/>
          <ac:spMkLst>
            <pc:docMk/>
            <pc:sldMk cId="2330400467" sldId="2145706246"/>
            <ac:spMk id="11" creationId="{0CFA25E0-D5B0-91D3-117C-26055F6E5CC6}"/>
          </ac:spMkLst>
        </pc:spChg>
        <pc:spChg chg="add mod">
          <ac:chgData name="Graf Thomas, INI-NET-VNC-HCS" userId="487bc3e3-9ce7-4cdd-b7b4-8899ea88d289" providerId="ADAL" clId="{E3161F74-B0AA-40DC-ADA6-35AF10BC3613}" dt="2024-07-14T07:30:10.197" v="703" actId="1076"/>
          <ac:spMkLst>
            <pc:docMk/>
            <pc:sldMk cId="2330400467" sldId="2145706246"/>
            <ac:spMk id="15" creationId="{987BEEEE-087C-C4CD-2079-D081718361C6}"/>
          </ac:spMkLst>
        </pc:spChg>
        <pc:spChg chg="del">
          <ac:chgData name="Graf Thomas, INI-NET-VNC-HCS" userId="487bc3e3-9ce7-4cdd-b7b4-8899ea88d289" providerId="ADAL" clId="{E3161F74-B0AA-40DC-ADA6-35AF10BC3613}" dt="2024-07-14T07:28:59.480" v="692" actId="478"/>
          <ac:spMkLst>
            <pc:docMk/>
            <pc:sldMk cId="2330400467" sldId="2145706246"/>
            <ac:spMk id="44" creationId="{15CD4C55-C198-D765-7F4F-A0AFD8A7DA0C}"/>
          </ac:spMkLst>
        </pc:spChg>
        <pc:spChg chg="del">
          <ac:chgData name="Graf Thomas, INI-NET-VNC-HCS" userId="487bc3e3-9ce7-4cdd-b7b4-8899ea88d289" providerId="ADAL" clId="{E3161F74-B0AA-40DC-ADA6-35AF10BC3613}" dt="2024-07-14T07:28:59.480" v="692" actId="478"/>
          <ac:spMkLst>
            <pc:docMk/>
            <pc:sldMk cId="2330400467" sldId="2145706246"/>
            <ac:spMk id="45" creationId="{C3789785-D969-62C7-6309-6DF76E73CC4E}"/>
          </ac:spMkLst>
        </pc:spChg>
        <pc:spChg chg="del">
          <ac:chgData name="Graf Thomas, INI-NET-VNC-HCS" userId="487bc3e3-9ce7-4cdd-b7b4-8899ea88d289" providerId="ADAL" clId="{E3161F74-B0AA-40DC-ADA6-35AF10BC3613}" dt="2024-07-14T07:28:59.480" v="692" actId="478"/>
          <ac:spMkLst>
            <pc:docMk/>
            <pc:sldMk cId="2330400467" sldId="2145706246"/>
            <ac:spMk id="46" creationId="{A5B6D27F-95E4-A477-DAD2-725CA83EC9ED}"/>
          </ac:spMkLst>
        </pc:spChg>
        <pc:spChg chg="mod">
          <ac:chgData name="Graf Thomas, INI-NET-VNC-HCS" userId="487bc3e3-9ce7-4cdd-b7b4-8899ea88d289" providerId="ADAL" clId="{E3161F74-B0AA-40DC-ADA6-35AF10BC3613}" dt="2024-07-14T07:27:46.729" v="690" actId="108"/>
          <ac:spMkLst>
            <pc:docMk/>
            <pc:sldMk cId="2330400467" sldId="2145706246"/>
            <ac:spMk id="48" creationId="{A48B1DB7-BCDC-5D18-F56D-8A1447F1B8BA}"/>
          </ac:spMkLst>
        </pc:spChg>
        <pc:spChg chg="del">
          <ac:chgData name="Graf Thomas, INI-NET-VNC-HCS" userId="487bc3e3-9ce7-4cdd-b7b4-8899ea88d289" providerId="ADAL" clId="{E3161F74-B0AA-40DC-ADA6-35AF10BC3613}" dt="2024-07-14T07:28:59.480" v="692" actId="478"/>
          <ac:spMkLst>
            <pc:docMk/>
            <pc:sldMk cId="2330400467" sldId="2145706246"/>
            <ac:spMk id="54" creationId="{C011D8AD-2EA6-5288-3ECE-31DACDB8DC5F}"/>
          </ac:spMkLst>
        </pc:spChg>
        <pc:spChg chg="del">
          <ac:chgData name="Graf Thomas, INI-NET-VNC-HCS" userId="487bc3e3-9ce7-4cdd-b7b4-8899ea88d289" providerId="ADAL" clId="{E3161F74-B0AA-40DC-ADA6-35AF10BC3613}" dt="2024-07-14T07:28:59.480" v="692" actId="478"/>
          <ac:spMkLst>
            <pc:docMk/>
            <pc:sldMk cId="2330400467" sldId="2145706246"/>
            <ac:spMk id="55" creationId="{6D9672A8-4A6D-6FEF-60F2-822C102E478B}"/>
          </ac:spMkLst>
        </pc:spChg>
        <pc:spChg chg="del">
          <ac:chgData name="Graf Thomas, INI-NET-VNC-HCS" userId="487bc3e3-9ce7-4cdd-b7b4-8899ea88d289" providerId="ADAL" clId="{E3161F74-B0AA-40DC-ADA6-35AF10BC3613}" dt="2024-07-14T07:28:59.480" v="692" actId="478"/>
          <ac:spMkLst>
            <pc:docMk/>
            <pc:sldMk cId="2330400467" sldId="2145706246"/>
            <ac:spMk id="56" creationId="{3EC2771A-F88B-3E1C-A157-8CB4E5ABE455}"/>
          </ac:spMkLst>
        </pc:spChg>
        <pc:spChg chg="del">
          <ac:chgData name="Graf Thomas, INI-NET-VNC-HCS" userId="487bc3e3-9ce7-4cdd-b7b4-8899ea88d289" providerId="ADAL" clId="{E3161F74-B0AA-40DC-ADA6-35AF10BC3613}" dt="2024-07-14T07:28:59.480" v="692" actId="478"/>
          <ac:spMkLst>
            <pc:docMk/>
            <pc:sldMk cId="2330400467" sldId="2145706246"/>
            <ac:spMk id="57" creationId="{AB52C6FF-C6A3-5120-838F-323561FB2EFB}"/>
          </ac:spMkLst>
        </pc:spChg>
        <pc:spChg chg="del">
          <ac:chgData name="Graf Thomas, INI-NET-VNC-HCS" userId="487bc3e3-9ce7-4cdd-b7b4-8899ea88d289" providerId="ADAL" clId="{E3161F74-B0AA-40DC-ADA6-35AF10BC3613}" dt="2024-07-14T07:28:59.480" v="692" actId="478"/>
          <ac:spMkLst>
            <pc:docMk/>
            <pc:sldMk cId="2330400467" sldId="2145706246"/>
            <ac:spMk id="58" creationId="{2EC15C90-850E-FA97-261E-510648771F94}"/>
          </ac:spMkLst>
        </pc:spChg>
        <pc:spChg chg="del">
          <ac:chgData name="Graf Thomas, INI-NET-VNC-HCS" userId="487bc3e3-9ce7-4cdd-b7b4-8899ea88d289" providerId="ADAL" clId="{E3161F74-B0AA-40DC-ADA6-35AF10BC3613}" dt="2024-07-14T07:28:59.480" v="692" actId="478"/>
          <ac:spMkLst>
            <pc:docMk/>
            <pc:sldMk cId="2330400467" sldId="2145706246"/>
            <ac:spMk id="59" creationId="{A8EF1CA1-6853-CBC2-05BA-14338FD724D0}"/>
          </ac:spMkLst>
        </pc:spChg>
        <pc:spChg chg="del">
          <ac:chgData name="Graf Thomas, INI-NET-VNC-HCS" userId="487bc3e3-9ce7-4cdd-b7b4-8899ea88d289" providerId="ADAL" clId="{E3161F74-B0AA-40DC-ADA6-35AF10BC3613}" dt="2024-07-14T07:28:59.480" v="692" actId="478"/>
          <ac:spMkLst>
            <pc:docMk/>
            <pc:sldMk cId="2330400467" sldId="2145706246"/>
            <ac:spMk id="64" creationId="{25AD0F57-18F4-C4DC-579C-78B3A14ACADB}"/>
          </ac:spMkLst>
        </pc:spChg>
        <pc:spChg chg="del">
          <ac:chgData name="Graf Thomas, INI-NET-VNC-HCS" userId="487bc3e3-9ce7-4cdd-b7b4-8899ea88d289" providerId="ADAL" clId="{E3161F74-B0AA-40DC-ADA6-35AF10BC3613}" dt="2024-07-14T07:28:59.480" v="692" actId="478"/>
          <ac:spMkLst>
            <pc:docMk/>
            <pc:sldMk cId="2330400467" sldId="2145706246"/>
            <ac:spMk id="65" creationId="{DF4404A2-8F3A-F107-C43C-367A64F2271A}"/>
          </ac:spMkLst>
        </pc:spChg>
        <pc:picChg chg="add mod">
          <ac:chgData name="Graf Thomas, INI-NET-VNC-HCS" userId="487bc3e3-9ce7-4cdd-b7b4-8899ea88d289" providerId="ADAL" clId="{E3161F74-B0AA-40DC-ADA6-35AF10BC3613}" dt="2024-07-14T07:29:14.048" v="695" actId="1076"/>
          <ac:picMkLst>
            <pc:docMk/>
            <pc:sldMk cId="2330400467" sldId="2145706246"/>
            <ac:picMk id="2" creationId="{A5C13DB2-576A-627A-2CF0-E34E57ACD645}"/>
          </ac:picMkLst>
        </pc:picChg>
        <pc:picChg chg="add mod">
          <ac:chgData name="Graf Thomas, INI-NET-VNC-HCS" userId="487bc3e3-9ce7-4cdd-b7b4-8899ea88d289" providerId="ADAL" clId="{E3161F74-B0AA-40DC-ADA6-35AF10BC3613}" dt="2024-07-14T07:36:32.717" v="978" actId="1036"/>
          <ac:picMkLst>
            <pc:docMk/>
            <pc:sldMk cId="2330400467" sldId="2145706246"/>
            <ac:picMk id="4" creationId="{5AF1EF20-85A6-C0BB-1636-29832B2C67BB}"/>
          </ac:picMkLst>
        </pc:picChg>
        <pc:picChg chg="add mod">
          <ac:chgData name="Graf Thomas, INI-NET-VNC-HCS" userId="487bc3e3-9ce7-4cdd-b7b4-8899ea88d289" providerId="ADAL" clId="{E3161F74-B0AA-40DC-ADA6-35AF10BC3613}" dt="2024-07-14T07:36:32.717" v="978" actId="1036"/>
          <ac:picMkLst>
            <pc:docMk/>
            <pc:sldMk cId="2330400467" sldId="2145706246"/>
            <ac:picMk id="8" creationId="{8D19947A-144F-1D80-B0F3-67F6872163F8}"/>
          </ac:picMkLst>
        </pc:picChg>
        <pc:picChg chg="add mod">
          <ac:chgData name="Graf Thomas, INI-NET-VNC-HCS" userId="487bc3e3-9ce7-4cdd-b7b4-8899ea88d289" providerId="ADAL" clId="{E3161F74-B0AA-40DC-ADA6-35AF10BC3613}" dt="2024-07-14T07:36:32.717" v="978" actId="1036"/>
          <ac:picMkLst>
            <pc:docMk/>
            <pc:sldMk cId="2330400467" sldId="2145706246"/>
            <ac:picMk id="12" creationId="{6F2C0F71-B41B-ECC1-F60C-F8D3A587CFA6}"/>
          </ac:picMkLst>
        </pc:picChg>
        <pc:picChg chg="add mod">
          <ac:chgData name="Graf Thomas, INI-NET-VNC-HCS" userId="487bc3e3-9ce7-4cdd-b7b4-8899ea88d289" providerId="ADAL" clId="{E3161F74-B0AA-40DC-ADA6-35AF10BC3613}" dt="2024-07-14T07:36:32.717" v="978" actId="1036"/>
          <ac:picMkLst>
            <pc:docMk/>
            <pc:sldMk cId="2330400467" sldId="2145706246"/>
            <ac:picMk id="14" creationId="{0CCB84FC-46E4-E41C-DF7F-CC97564CE789}"/>
          </ac:picMkLst>
        </pc:picChg>
        <pc:picChg chg="del">
          <ac:chgData name="Graf Thomas, INI-NET-VNC-HCS" userId="487bc3e3-9ce7-4cdd-b7b4-8899ea88d289" providerId="ADAL" clId="{E3161F74-B0AA-40DC-ADA6-35AF10BC3613}" dt="2024-07-14T07:29:02.363" v="693" actId="478"/>
          <ac:picMkLst>
            <pc:docMk/>
            <pc:sldMk cId="2330400467" sldId="2145706246"/>
            <ac:picMk id="43" creationId="{A884059B-71A3-A98E-1404-DB2B173037D7}"/>
          </ac:picMkLst>
        </pc:picChg>
        <pc:picChg chg="del">
          <ac:chgData name="Graf Thomas, INI-NET-VNC-HCS" userId="487bc3e3-9ce7-4cdd-b7b4-8899ea88d289" providerId="ADAL" clId="{E3161F74-B0AA-40DC-ADA6-35AF10BC3613}" dt="2024-07-14T07:28:59.480" v="692" actId="478"/>
          <ac:picMkLst>
            <pc:docMk/>
            <pc:sldMk cId="2330400467" sldId="2145706246"/>
            <ac:picMk id="51" creationId="{18646E87-9D16-8668-4D04-73BBFD743D8C}"/>
          </ac:picMkLst>
        </pc:picChg>
        <pc:picChg chg="del">
          <ac:chgData name="Graf Thomas, INI-NET-VNC-HCS" userId="487bc3e3-9ce7-4cdd-b7b4-8899ea88d289" providerId="ADAL" clId="{E3161F74-B0AA-40DC-ADA6-35AF10BC3613}" dt="2024-07-14T07:28:59.480" v="692" actId="478"/>
          <ac:picMkLst>
            <pc:docMk/>
            <pc:sldMk cId="2330400467" sldId="2145706246"/>
            <ac:picMk id="52" creationId="{3EED3FD3-DCD7-8025-E8C8-9704DF4F6585}"/>
          </ac:picMkLst>
        </pc:picChg>
        <pc:picChg chg="del">
          <ac:chgData name="Graf Thomas, INI-NET-VNC-HCS" userId="487bc3e3-9ce7-4cdd-b7b4-8899ea88d289" providerId="ADAL" clId="{E3161F74-B0AA-40DC-ADA6-35AF10BC3613}" dt="2024-07-14T07:28:59.480" v="692" actId="478"/>
          <ac:picMkLst>
            <pc:docMk/>
            <pc:sldMk cId="2330400467" sldId="2145706246"/>
            <ac:picMk id="53" creationId="{BC30914E-EC74-A7FF-00BE-70494A248E5C}"/>
          </ac:picMkLst>
        </pc:picChg>
        <pc:picChg chg="del">
          <ac:chgData name="Graf Thomas, INI-NET-VNC-HCS" userId="487bc3e3-9ce7-4cdd-b7b4-8899ea88d289" providerId="ADAL" clId="{E3161F74-B0AA-40DC-ADA6-35AF10BC3613}" dt="2024-07-14T07:29:02.363" v="693" actId="478"/>
          <ac:picMkLst>
            <pc:docMk/>
            <pc:sldMk cId="2330400467" sldId="2145706246"/>
            <ac:picMk id="60" creationId="{30386612-1AE1-2415-F759-F36131510432}"/>
          </ac:picMkLst>
        </pc:picChg>
        <pc:picChg chg="del">
          <ac:chgData name="Graf Thomas, INI-NET-VNC-HCS" userId="487bc3e3-9ce7-4cdd-b7b4-8899ea88d289" providerId="ADAL" clId="{E3161F74-B0AA-40DC-ADA6-35AF10BC3613}" dt="2024-07-14T07:29:02.363" v="693" actId="478"/>
          <ac:picMkLst>
            <pc:docMk/>
            <pc:sldMk cId="2330400467" sldId="2145706246"/>
            <ac:picMk id="61" creationId="{D78CB6B7-608F-80FD-730C-579244661205}"/>
          </ac:picMkLst>
        </pc:picChg>
        <pc:picChg chg="del">
          <ac:chgData name="Graf Thomas, INI-NET-VNC-HCS" userId="487bc3e3-9ce7-4cdd-b7b4-8899ea88d289" providerId="ADAL" clId="{E3161F74-B0AA-40DC-ADA6-35AF10BC3613}" dt="2024-07-14T07:29:02.363" v="693" actId="478"/>
          <ac:picMkLst>
            <pc:docMk/>
            <pc:sldMk cId="2330400467" sldId="2145706246"/>
            <ac:picMk id="62" creationId="{DF99A51F-71E7-C64F-BCA0-4392E1867E92}"/>
          </ac:picMkLst>
        </pc:picChg>
        <pc:picChg chg="del">
          <ac:chgData name="Graf Thomas, INI-NET-VNC-HCS" userId="487bc3e3-9ce7-4cdd-b7b4-8899ea88d289" providerId="ADAL" clId="{E3161F74-B0AA-40DC-ADA6-35AF10BC3613}" dt="2024-07-14T07:28:59.480" v="692" actId="478"/>
          <ac:picMkLst>
            <pc:docMk/>
            <pc:sldMk cId="2330400467" sldId="2145706246"/>
            <ac:picMk id="63" creationId="{CB9060F7-AFCB-2F13-6317-5839F4680767}"/>
          </ac:picMkLst>
        </pc:picChg>
        <pc:cxnChg chg="add mod">
          <ac:chgData name="Graf Thomas, INI-NET-VNC-HCS" userId="487bc3e3-9ce7-4cdd-b7b4-8899ea88d289" providerId="ADAL" clId="{E3161F74-B0AA-40DC-ADA6-35AF10BC3613}" dt="2024-07-14T07:36:32.717" v="978" actId="1036"/>
          <ac:cxnSpMkLst>
            <pc:docMk/>
            <pc:sldMk cId="2330400467" sldId="2145706246"/>
            <ac:cxnSpMk id="7" creationId="{5B3D2B6C-895B-B128-3B64-BE465DF3780C}"/>
          </ac:cxnSpMkLst>
        </pc:cxnChg>
        <pc:cxnChg chg="add mod">
          <ac:chgData name="Graf Thomas, INI-NET-VNC-HCS" userId="487bc3e3-9ce7-4cdd-b7b4-8899ea88d289" providerId="ADAL" clId="{E3161F74-B0AA-40DC-ADA6-35AF10BC3613}" dt="2024-07-14T07:36:32.717" v="978" actId="1036"/>
          <ac:cxnSpMkLst>
            <pc:docMk/>
            <pc:sldMk cId="2330400467" sldId="2145706246"/>
            <ac:cxnSpMk id="13" creationId="{9454752F-262C-79E4-AA8B-1ED9C821AA0C}"/>
          </ac:cxnSpMkLst>
        </pc:cxnChg>
      </pc:sldChg>
      <pc:sldChg chg="addSp delSp modSp add mod">
        <pc:chgData name="Graf Thomas, INI-NET-VNC-HCS" userId="487bc3e3-9ce7-4cdd-b7b4-8899ea88d289" providerId="ADAL" clId="{E3161F74-B0AA-40DC-ADA6-35AF10BC3613}" dt="2024-07-14T07:51:06.731" v="1353"/>
        <pc:sldMkLst>
          <pc:docMk/>
          <pc:sldMk cId="710622215" sldId="2145706247"/>
        </pc:sldMkLst>
        <pc:spChg chg="del">
          <ac:chgData name="Graf Thomas, INI-NET-VNC-HCS" userId="487bc3e3-9ce7-4cdd-b7b4-8899ea88d289" providerId="ADAL" clId="{E3161F74-B0AA-40DC-ADA6-35AF10BC3613}" dt="2024-07-14T07:51:03.665" v="1351" actId="478"/>
          <ac:spMkLst>
            <pc:docMk/>
            <pc:sldMk cId="710622215" sldId="2145706247"/>
            <ac:spMk id="3" creationId="{3C8F3124-91DA-E963-D267-A0B5C35FE58E}"/>
          </ac:spMkLst>
        </pc:spChg>
        <pc:spChg chg="mod">
          <ac:chgData name="Graf Thomas, INI-NET-VNC-HCS" userId="487bc3e3-9ce7-4cdd-b7b4-8899ea88d289" providerId="ADAL" clId="{E3161F74-B0AA-40DC-ADA6-35AF10BC3613}" dt="2024-07-14T07:49:46.733" v="1345" actId="6549"/>
          <ac:spMkLst>
            <pc:docMk/>
            <pc:sldMk cId="710622215" sldId="2145706247"/>
            <ac:spMk id="8" creationId="{B33E2DBB-1A1B-01BA-4800-C20DF81677B7}"/>
          </ac:spMkLst>
        </pc:spChg>
        <pc:spChg chg="del">
          <ac:chgData name="Graf Thomas, INI-NET-VNC-HCS" userId="487bc3e3-9ce7-4cdd-b7b4-8899ea88d289" providerId="ADAL" clId="{E3161F74-B0AA-40DC-ADA6-35AF10BC3613}" dt="2024-07-14T07:51:06.331" v="1352" actId="478"/>
          <ac:spMkLst>
            <pc:docMk/>
            <pc:sldMk cId="710622215" sldId="2145706247"/>
            <ac:spMk id="12" creationId="{E3697D27-282C-35E0-230C-860A02F74A75}"/>
          </ac:spMkLst>
        </pc:spChg>
        <pc:spChg chg="add mod">
          <ac:chgData name="Graf Thomas, INI-NET-VNC-HCS" userId="487bc3e3-9ce7-4cdd-b7b4-8899ea88d289" providerId="ADAL" clId="{E3161F74-B0AA-40DC-ADA6-35AF10BC3613}" dt="2024-07-14T07:51:06.731" v="1353"/>
          <ac:spMkLst>
            <pc:docMk/>
            <pc:sldMk cId="710622215" sldId="2145706247"/>
            <ac:spMk id="19" creationId="{C0B0B358-F380-1685-54B2-28156DD8C58B}"/>
          </ac:spMkLst>
        </pc:spChg>
        <pc:spChg chg="add mod">
          <ac:chgData name="Graf Thomas, INI-NET-VNC-HCS" userId="487bc3e3-9ce7-4cdd-b7b4-8899ea88d289" providerId="ADAL" clId="{E3161F74-B0AA-40DC-ADA6-35AF10BC3613}" dt="2024-07-14T07:51:06.731" v="1353"/>
          <ac:spMkLst>
            <pc:docMk/>
            <pc:sldMk cId="710622215" sldId="2145706247"/>
            <ac:spMk id="23" creationId="{6275C51E-5B93-B582-DF30-56138CC1BF00}"/>
          </ac:spMkLst>
        </pc:spChg>
        <pc:spChg chg="add mod">
          <ac:chgData name="Graf Thomas, INI-NET-VNC-HCS" userId="487bc3e3-9ce7-4cdd-b7b4-8899ea88d289" providerId="ADAL" clId="{E3161F74-B0AA-40DC-ADA6-35AF10BC3613}" dt="2024-07-14T07:51:06.731" v="1353"/>
          <ac:spMkLst>
            <pc:docMk/>
            <pc:sldMk cId="710622215" sldId="2145706247"/>
            <ac:spMk id="28" creationId="{10C3CDCC-83DF-7277-DB1E-1B0F522EFD5C}"/>
          </ac:spMkLst>
        </pc:spChg>
        <pc:spChg chg="mod">
          <ac:chgData name="Graf Thomas, INI-NET-VNC-HCS" userId="487bc3e3-9ce7-4cdd-b7b4-8899ea88d289" providerId="ADAL" clId="{E3161F74-B0AA-40DC-ADA6-35AF10BC3613}" dt="2024-07-14T07:50:57.593" v="1350" actId="1076"/>
          <ac:spMkLst>
            <pc:docMk/>
            <pc:sldMk cId="710622215" sldId="2145706247"/>
            <ac:spMk id="48" creationId="{A48B1DB7-BCDC-5D18-F56D-8A1447F1B8BA}"/>
          </ac:spMkLst>
        </pc:spChg>
        <pc:picChg chg="del">
          <ac:chgData name="Graf Thomas, INI-NET-VNC-HCS" userId="487bc3e3-9ce7-4cdd-b7b4-8899ea88d289" providerId="ADAL" clId="{E3161F74-B0AA-40DC-ADA6-35AF10BC3613}" dt="2024-07-14T07:49:11.416" v="1337" actId="478"/>
          <ac:picMkLst>
            <pc:docMk/>
            <pc:sldMk cId="710622215" sldId="2145706247"/>
            <ac:picMk id="2" creationId="{D825C094-E88A-4BA1-279E-1CA72BC2530A}"/>
          </ac:picMkLst>
        </pc:picChg>
        <pc:picChg chg="del">
          <ac:chgData name="Graf Thomas, INI-NET-VNC-HCS" userId="487bc3e3-9ce7-4cdd-b7b4-8899ea88d289" providerId="ADAL" clId="{E3161F74-B0AA-40DC-ADA6-35AF10BC3613}" dt="2024-07-14T07:51:03.665" v="1351" actId="478"/>
          <ac:picMkLst>
            <pc:docMk/>
            <pc:sldMk cId="710622215" sldId="2145706247"/>
            <ac:picMk id="4" creationId="{10F8C966-6C01-753F-643A-2477BDD8A6F2}"/>
          </ac:picMkLst>
        </pc:picChg>
        <pc:picChg chg="add mod">
          <ac:chgData name="Graf Thomas, INI-NET-VNC-HCS" userId="487bc3e3-9ce7-4cdd-b7b4-8899ea88d289" providerId="ADAL" clId="{E3161F74-B0AA-40DC-ADA6-35AF10BC3613}" dt="2024-07-14T07:49:22.665" v="1340" actId="1076"/>
          <ac:picMkLst>
            <pc:docMk/>
            <pc:sldMk cId="710622215" sldId="2145706247"/>
            <ac:picMk id="5" creationId="{CE037323-F485-1F7D-6F0A-B55000018911}"/>
          </ac:picMkLst>
        </pc:picChg>
        <pc:picChg chg="del">
          <ac:chgData name="Graf Thomas, INI-NET-VNC-HCS" userId="487bc3e3-9ce7-4cdd-b7b4-8899ea88d289" providerId="ADAL" clId="{E3161F74-B0AA-40DC-ADA6-35AF10BC3613}" dt="2024-07-14T07:51:03.665" v="1351" actId="478"/>
          <ac:picMkLst>
            <pc:docMk/>
            <pc:sldMk cId="710622215" sldId="2145706247"/>
            <ac:picMk id="7" creationId="{AD3975DB-4FBB-D7DA-7A90-56FDFF69B361}"/>
          </ac:picMkLst>
        </pc:picChg>
        <pc:picChg chg="del">
          <ac:chgData name="Graf Thomas, INI-NET-VNC-HCS" userId="487bc3e3-9ce7-4cdd-b7b4-8899ea88d289" providerId="ADAL" clId="{E3161F74-B0AA-40DC-ADA6-35AF10BC3613}" dt="2024-07-14T07:51:03.665" v="1351" actId="478"/>
          <ac:picMkLst>
            <pc:docMk/>
            <pc:sldMk cId="710622215" sldId="2145706247"/>
            <ac:picMk id="11" creationId="{79FFF6E1-635B-C793-3280-913CE5283BB5}"/>
          </ac:picMkLst>
        </pc:picChg>
        <pc:picChg chg="del">
          <ac:chgData name="Graf Thomas, INI-NET-VNC-HCS" userId="487bc3e3-9ce7-4cdd-b7b4-8899ea88d289" providerId="ADAL" clId="{E3161F74-B0AA-40DC-ADA6-35AF10BC3613}" dt="2024-07-14T07:51:03.665" v="1351" actId="478"/>
          <ac:picMkLst>
            <pc:docMk/>
            <pc:sldMk cId="710622215" sldId="2145706247"/>
            <ac:picMk id="13" creationId="{B713EA16-A802-5C95-C0DF-9E4D6664FBE0}"/>
          </ac:picMkLst>
        </pc:picChg>
        <pc:picChg chg="del">
          <ac:chgData name="Graf Thomas, INI-NET-VNC-HCS" userId="487bc3e3-9ce7-4cdd-b7b4-8899ea88d289" providerId="ADAL" clId="{E3161F74-B0AA-40DC-ADA6-35AF10BC3613}" dt="2024-07-14T07:51:03.665" v="1351" actId="478"/>
          <ac:picMkLst>
            <pc:docMk/>
            <pc:sldMk cId="710622215" sldId="2145706247"/>
            <ac:picMk id="14" creationId="{63B354C4-7243-6AA2-B8FA-CD57A828AB6E}"/>
          </ac:picMkLst>
        </pc:picChg>
        <pc:picChg chg="del">
          <ac:chgData name="Graf Thomas, INI-NET-VNC-HCS" userId="487bc3e3-9ce7-4cdd-b7b4-8899ea88d289" providerId="ADAL" clId="{E3161F74-B0AA-40DC-ADA6-35AF10BC3613}" dt="2024-07-14T07:51:03.665" v="1351" actId="478"/>
          <ac:picMkLst>
            <pc:docMk/>
            <pc:sldMk cId="710622215" sldId="2145706247"/>
            <ac:picMk id="15" creationId="{7D22CB75-8C5B-467F-E2AA-BEEE36A5FBFA}"/>
          </ac:picMkLst>
        </pc:picChg>
        <pc:picChg chg="del">
          <ac:chgData name="Graf Thomas, INI-NET-VNC-HCS" userId="487bc3e3-9ce7-4cdd-b7b4-8899ea88d289" providerId="ADAL" clId="{E3161F74-B0AA-40DC-ADA6-35AF10BC3613}" dt="2024-07-14T07:51:03.665" v="1351" actId="478"/>
          <ac:picMkLst>
            <pc:docMk/>
            <pc:sldMk cId="710622215" sldId="2145706247"/>
            <ac:picMk id="16" creationId="{404B3394-2B34-51E0-0ABA-DA01768C229E}"/>
          </ac:picMkLst>
        </pc:picChg>
        <pc:picChg chg="add mod">
          <ac:chgData name="Graf Thomas, INI-NET-VNC-HCS" userId="487bc3e3-9ce7-4cdd-b7b4-8899ea88d289" providerId="ADAL" clId="{E3161F74-B0AA-40DC-ADA6-35AF10BC3613}" dt="2024-07-14T07:51:06.731" v="1353"/>
          <ac:picMkLst>
            <pc:docMk/>
            <pc:sldMk cId="710622215" sldId="2145706247"/>
            <ac:picMk id="20" creationId="{B1BD11C8-18BC-7037-EDE7-760FAF3ED111}"/>
          </ac:picMkLst>
        </pc:picChg>
        <pc:picChg chg="add mod">
          <ac:chgData name="Graf Thomas, INI-NET-VNC-HCS" userId="487bc3e3-9ce7-4cdd-b7b4-8899ea88d289" providerId="ADAL" clId="{E3161F74-B0AA-40DC-ADA6-35AF10BC3613}" dt="2024-07-14T07:51:06.731" v="1353"/>
          <ac:picMkLst>
            <pc:docMk/>
            <pc:sldMk cId="710622215" sldId="2145706247"/>
            <ac:picMk id="21" creationId="{8FADD8A6-5EA5-F80B-B38C-6AD008F1D624}"/>
          </ac:picMkLst>
        </pc:picChg>
        <pc:picChg chg="add mod">
          <ac:chgData name="Graf Thomas, INI-NET-VNC-HCS" userId="487bc3e3-9ce7-4cdd-b7b4-8899ea88d289" providerId="ADAL" clId="{E3161F74-B0AA-40DC-ADA6-35AF10BC3613}" dt="2024-07-14T07:51:06.731" v="1353"/>
          <ac:picMkLst>
            <pc:docMk/>
            <pc:sldMk cId="710622215" sldId="2145706247"/>
            <ac:picMk id="22" creationId="{8CF6195A-5D87-095E-6F02-784D55BE78AB}"/>
          </ac:picMkLst>
        </pc:picChg>
        <pc:picChg chg="add mod">
          <ac:chgData name="Graf Thomas, INI-NET-VNC-HCS" userId="487bc3e3-9ce7-4cdd-b7b4-8899ea88d289" providerId="ADAL" clId="{E3161F74-B0AA-40DC-ADA6-35AF10BC3613}" dt="2024-07-14T07:51:06.731" v="1353"/>
          <ac:picMkLst>
            <pc:docMk/>
            <pc:sldMk cId="710622215" sldId="2145706247"/>
            <ac:picMk id="24" creationId="{1CB21777-465A-0359-082D-EF78EF350F1F}"/>
          </ac:picMkLst>
        </pc:picChg>
        <pc:picChg chg="add mod">
          <ac:chgData name="Graf Thomas, INI-NET-VNC-HCS" userId="487bc3e3-9ce7-4cdd-b7b4-8899ea88d289" providerId="ADAL" clId="{E3161F74-B0AA-40DC-ADA6-35AF10BC3613}" dt="2024-07-14T07:51:06.731" v="1353"/>
          <ac:picMkLst>
            <pc:docMk/>
            <pc:sldMk cId="710622215" sldId="2145706247"/>
            <ac:picMk id="25" creationId="{76541C7C-3EAC-E11D-1BFA-AB24210F9D11}"/>
          </ac:picMkLst>
        </pc:picChg>
        <pc:picChg chg="add mod">
          <ac:chgData name="Graf Thomas, INI-NET-VNC-HCS" userId="487bc3e3-9ce7-4cdd-b7b4-8899ea88d289" providerId="ADAL" clId="{E3161F74-B0AA-40DC-ADA6-35AF10BC3613}" dt="2024-07-14T07:51:06.731" v="1353"/>
          <ac:picMkLst>
            <pc:docMk/>
            <pc:sldMk cId="710622215" sldId="2145706247"/>
            <ac:picMk id="26" creationId="{BE70FAB3-BF1B-C1CC-E32D-98A2BAABC777}"/>
          </ac:picMkLst>
        </pc:picChg>
        <pc:picChg chg="add mod">
          <ac:chgData name="Graf Thomas, INI-NET-VNC-HCS" userId="487bc3e3-9ce7-4cdd-b7b4-8899ea88d289" providerId="ADAL" clId="{E3161F74-B0AA-40DC-ADA6-35AF10BC3613}" dt="2024-07-14T07:51:06.731" v="1353"/>
          <ac:picMkLst>
            <pc:docMk/>
            <pc:sldMk cId="710622215" sldId="2145706247"/>
            <ac:picMk id="27" creationId="{2EE4C1FC-0867-2EDD-728E-DAB916AA6006}"/>
          </ac:picMkLst>
        </pc:picChg>
        <pc:cxnChg chg="del">
          <ac:chgData name="Graf Thomas, INI-NET-VNC-HCS" userId="487bc3e3-9ce7-4cdd-b7b4-8899ea88d289" providerId="ADAL" clId="{E3161F74-B0AA-40DC-ADA6-35AF10BC3613}" dt="2024-07-14T07:49:14.234" v="1338" actId="478"/>
          <ac:cxnSpMkLst>
            <pc:docMk/>
            <pc:sldMk cId="710622215" sldId="2145706247"/>
            <ac:cxnSpMk id="9" creationId="{B92218F3-4104-7B4F-3E0B-47B7CE1992D4}"/>
          </ac:cxnSpMkLst>
        </pc:cxnChg>
        <pc:cxnChg chg="del">
          <ac:chgData name="Graf Thomas, INI-NET-VNC-HCS" userId="487bc3e3-9ce7-4cdd-b7b4-8899ea88d289" providerId="ADAL" clId="{E3161F74-B0AA-40DC-ADA6-35AF10BC3613}" dt="2024-07-14T07:49:14.234" v="1338" actId="478"/>
          <ac:cxnSpMkLst>
            <pc:docMk/>
            <pc:sldMk cId="710622215" sldId="2145706247"/>
            <ac:cxnSpMk id="10" creationId="{275139BB-CAF0-5312-53A2-4FE7C209F50A}"/>
          </ac:cxnSpMkLst>
        </pc:cxnChg>
        <pc:cxnChg chg="add mod">
          <ac:chgData name="Graf Thomas, INI-NET-VNC-HCS" userId="487bc3e3-9ce7-4cdd-b7b4-8899ea88d289" providerId="ADAL" clId="{E3161F74-B0AA-40DC-ADA6-35AF10BC3613}" dt="2024-07-14T07:49:22.665" v="1340" actId="1076"/>
          <ac:cxnSpMkLst>
            <pc:docMk/>
            <pc:sldMk cId="710622215" sldId="2145706247"/>
            <ac:cxnSpMk id="17" creationId="{2E8596CB-E477-3593-DC09-8C18E2574B2C}"/>
          </ac:cxnSpMkLst>
        </pc:cxnChg>
        <pc:cxnChg chg="add mod">
          <ac:chgData name="Graf Thomas, INI-NET-VNC-HCS" userId="487bc3e3-9ce7-4cdd-b7b4-8899ea88d289" providerId="ADAL" clId="{E3161F74-B0AA-40DC-ADA6-35AF10BC3613}" dt="2024-07-14T07:49:22.665" v="1340" actId="1076"/>
          <ac:cxnSpMkLst>
            <pc:docMk/>
            <pc:sldMk cId="710622215" sldId="2145706247"/>
            <ac:cxnSpMk id="18" creationId="{4B1A7D75-0453-EA57-77A7-8B93DC299BFC}"/>
          </ac:cxnSpMkLst>
        </pc:cxnChg>
      </pc:sldChg>
      <pc:sldChg chg="addSp delSp modSp add mod">
        <pc:chgData name="Graf Thomas, INI-NET-VNC-HCS" userId="487bc3e3-9ce7-4cdd-b7b4-8899ea88d289" providerId="ADAL" clId="{E3161F74-B0AA-40DC-ADA6-35AF10BC3613}" dt="2024-07-14T08:03:04.608" v="1663" actId="12"/>
        <pc:sldMkLst>
          <pc:docMk/>
          <pc:sldMk cId="203592915" sldId="2145706248"/>
        </pc:sldMkLst>
        <pc:spChg chg="add mod">
          <ac:chgData name="Graf Thomas, INI-NET-VNC-HCS" userId="487bc3e3-9ce7-4cdd-b7b4-8899ea88d289" providerId="ADAL" clId="{E3161F74-B0AA-40DC-ADA6-35AF10BC3613}" dt="2024-07-14T08:02:12.770" v="1659" actId="14100"/>
          <ac:spMkLst>
            <pc:docMk/>
            <pc:sldMk cId="203592915" sldId="2145706248"/>
            <ac:spMk id="2" creationId="{D20827C3-9ACB-5BD9-AF5E-5FD0BA6DAA61}"/>
          </ac:spMkLst>
        </pc:spChg>
        <pc:spChg chg="add mod">
          <ac:chgData name="Graf Thomas, INI-NET-VNC-HCS" userId="487bc3e3-9ce7-4cdd-b7b4-8899ea88d289" providerId="ADAL" clId="{E3161F74-B0AA-40DC-ADA6-35AF10BC3613}" dt="2024-07-14T08:02:08.892" v="1658" actId="14100"/>
          <ac:spMkLst>
            <pc:docMk/>
            <pc:sldMk cId="203592915" sldId="2145706248"/>
            <ac:spMk id="3" creationId="{7AFFAB9B-D3A4-9F0D-7DDA-44173D37771D}"/>
          </ac:spMkLst>
        </pc:spChg>
        <pc:spChg chg="add mod">
          <ac:chgData name="Graf Thomas, INI-NET-VNC-HCS" userId="487bc3e3-9ce7-4cdd-b7b4-8899ea88d289" providerId="ADAL" clId="{E3161F74-B0AA-40DC-ADA6-35AF10BC3613}" dt="2024-07-14T08:02:26.147" v="1660" actId="1076"/>
          <ac:spMkLst>
            <pc:docMk/>
            <pc:sldMk cId="203592915" sldId="2145706248"/>
            <ac:spMk id="4" creationId="{75D43E75-002A-CEF2-3099-891BF5AA55A5}"/>
          </ac:spMkLst>
        </pc:spChg>
        <pc:spChg chg="del">
          <ac:chgData name="Graf Thomas, INI-NET-VNC-HCS" userId="487bc3e3-9ce7-4cdd-b7b4-8899ea88d289" providerId="ADAL" clId="{E3161F74-B0AA-40DC-ADA6-35AF10BC3613}" dt="2024-07-14T07:53:02.387" v="1403" actId="478"/>
          <ac:spMkLst>
            <pc:docMk/>
            <pc:sldMk cId="203592915" sldId="2145706248"/>
            <ac:spMk id="5" creationId="{244AEEBB-8E64-9D80-4802-15AB23D03E53}"/>
          </ac:spMkLst>
        </pc:spChg>
        <pc:spChg chg="add mod">
          <ac:chgData name="Graf Thomas, INI-NET-VNC-HCS" userId="487bc3e3-9ce7-4cdd-b7b4-8899ea88d289" providerId="ADAL" clId="{E3161F74-B0AA-40DC-ADA6-35AF10BC3613}" dt="2024-07-14T08:02:29.322" v="1661" actId="1076"/>
          <ac:spMkLst>
            <pc:docMk/>
            <pc:sldMk cId="203592915" sldId="2145706248"/>
            <ac:spMk id="7" creationId="{EDDBA991-7DE5-B570-03DC-216A0F0CC38A}"/>
          </ac:spMkLst>
        </pc:spChg>
        <pc:spChg chg="del">
          <ac:chgData name="Graf Thomas, INI-NET-VNC-HCS" userId="487bc3e3-9ce7-4cdd-b7b4-8899ea88d289" providerId="ADAL" clId="{E3161F74-B0AA-40DC-ADA6-35AF10BC3613}" dt="2024-07-14T07:53:02.387" v="1403" actId="478"/>
          <ac:spMkLst>
            <pc:docMk/>
            <pc:sldMk cId="203592915" sldId="2145706248"/>
            <ac:spMk id="17" creationId="{97844B26-F6D4-1F99-A525-6E56DCFFBB1E}"/>
          </ac:spMkLst>
        </pc:spChg>
        <pc:spChg chg="del">
          <ac:chgData name="Graf Thomas, INI-NET-VNC-HCS" userId="487bc3e3-9ce7-4cdd-b7b4-8899ea88d289" providerId="ADAL" clId="{E3161F74-B0AA-40DC-ADA6-35AF10BC3613}" dt="2024-07-14T07:53:02.387" v="1403" actId="478"/>
          <ac:spMkLst>
            <pc:docMk/>
            <pc:sldMk cId="203592915" sldId="2145706248"/>
            <ac:spMk id="18" creationId="{2B722B1A-8711-66FB-747B-037B20B19E85}"/>
          </ac:spMkLst>
        </pc:spChg>
        <pc:spChg chg="del">
          <ac:chgData name="Graf Thomas, INI-NET-VNC-HCS" userId="487bc3e3-9ce7-4cdd-b7b4-8899ea88d289" providerId="ADAL" clId="{E3161F74-B0AA-40DC-ADA6-35AF10BC3613}" dt="2024-07-14T07:53:02.387" v="1403" actId="478"/>
          <ac:spMkLst>
            <pc:docMk/>
            <pc:sldMk cId="203592915" sldId="2145706248"/>
            <ac:spMk id="19" creationId="{29070658-29D7-C93F-6BB1-152A712B3735}"/>
          </ac:spMkLst>
        </pc:spChg>
        <pc:spChg chg="mod">
          <ac:chgData name="Graf Thomas, INI-NET-VNC-HCS" userId="487bc3e3-9ce7-4cdd-b7b4-8899ea88d289" providerId="ADAL" clId="{E3161F74-B0AA-40DC-ADA6-35AF10BC3613}" dt="2024-07-14T08:03:04.608" v="1663" actId="12"/>
          <ac:spMkLst>
            <pc:docMk/>
            <pc:sldMk cId="203592915" sldId="2145706248"/>
            <ac:spMk id="21" creationId="{45E3698B-AA42-27BC-B206-D124A1AE89DE}"/>
          </ac:spMkLst>
        </pc:spChg>
        <pc:picChg chg="add mod">
          <ac:chgData name="Graf Thomas, INI-NET-VNC-HCS" userId="487bc3e3-9ce7-4cdd-b7b4-8899ea88d289" providerId="ADAL" clId="{E3161F74-B0AA-40DC-ADA6-35AF10BC3613}" dt="2024-07-14T08:02:26.147" v="1660" actId="1076"/>
          <ac:picMkLst>
            <pc:docMk/>
            <pc:sldMk cId="203592915" sldId="2145706248"/>
            <ac:picMk id="8" creationId="{FC7E05E9-1679-03AD-2D45-5098030D0926}"/>
          </ac:picMkLst>
        </pc:picChg>
        <pc:picChg chg="del">
          <ac:chgData name="Graf Thomas, INI-NET-VNC-HCS" userId="487bc3e3-9ce7-4cdd-b7b4-8899ea88d289" providerId="ADAL" clId="{E3161F74-B0AA-40DC-ADA6-35AF10BC3613}" dt="2024-07-14T07:53:02.387" v="1403" actId="478"/>
          <ac:picMkLst>
            <pc:docMk/>
            <pc:sldMk cId="203592915" sldId="2145706248"/>
            <ac:picMk id="22" creationId="{404B5059-813C-59D9-35B0-EF18928D152A}"/>
          </ac:picMkLst>
        </pc:picChg>
        <pc:picChg chg="del">
          <ac:chgData name="Graf Thomas, INI-NET-VNC-HCS" userId="487bc3e3-9ce7-4cdd-b7b4-8899ea88d289" providerId="ADAL" clId="{E3161F74-B0AA-40DC-ADA6-35AF10BC3613}" dt="2024-07-14T07:51:36.111" v="1355" actId="478"/>
          <ac:picMkLst>
            <pc:docMk/>
            <pc:sldMk cId="203592915" sldId="2145706248"/>
            <ac:picMk id="23" creationId="{3848A27D-A070-BB4D-D56F-40F3C20D2AA7}"/>
          </ac:picMkLst>
        </pc:picChg>
      </pc:sldChg>
      <pc:sldChg chg="modSp add del mod">
        <pc:chgData name="Graf Thomas, INI-NET-VNC-HCS" userId="487bc3e3-9ce7-4cdd-b7b4-8899ea88d289" providerId="ADAL" clId="{E3161F74-B0AA-40DC-ADA6-35AF10BC3613}" dt="2024-07-14T07:39:42.123" v="1059" actId="47"/>
        <pc:sldMkLst>
          <pc:docMk/>
          <pc:sldMk cId="2410019349" sldId="2145706249"/>
        </pc:sldMkLst>
        <pc:spChg chg="mod">
          <ac:chgData name="Graf Thomas, INI-NET-VNC-HCS" userId="487bc3e3-9ce7-4cdd-b7b4-8899ea88d289" providerId="ADAL" clId="{E3161F74-B0AA-40DC-ADA6-35AF10BC3613}" dt="2024-07-14T07:26:07.272" v="626" actId="27636"/>
          <ac:spMkLst>
            <pc:docMk/>
            <pc:sldMk cId="2410019349" sldId="2145706249"/>
            <ac:spMk id="8" creationId="{FBE5644D-AF4A-4732-B3D8-A1D12FF5A0D4}"/>
          </ac:spMkLst>
        </pc:spChg>
      </pc:sldChg>
      <pc:sldChg chg="add del">
        <pc:chgData name="Graf Thomas, INI-NET-VNC-HCS" userId="487bc3e3-9ce7-4cdd-b7b4-8899ea88d289" providerId="ADAL" clId="{E3161F74-B0AA-40DC-ADA6-35AF10BC3613}" dt="2024-07-14T07:54:55.461" v="1524" actId="47"/>
        <pc:sldMkLst>
          <pc:docMk/>
          <pc:sldMk cId="316318159" sldId="2145706252"/>
        </pc:sldMkLst>
      </pc:sldChg>
      <pc:sldChg chg="add del">
        <pc:chgData name="Graf Thomas, INI-NET-VNC-HCS" userId="487bc3e3-9ce7-4cdd-b7b4-8899ea88d289" providerId="ADAL" clId="{E3161F74-B0AA-40DC-ADA6-35AF10BC3613}" dt="2024-07-14T07:51:16.554" v="1354" actId="47"/>
        <pc:sldMkLst>
          <pc:docMk/>
          <pc:sldMk cId="3802501497" sldId="2145706254"/>
        </pc:sldMkLst>
      </pc:sldChg>
      <pc:sldChg chg="modSp add del mod">
        <pc:chgData name="Graf Thomas, INI-NET-VNC-HCS" userId="487bc3e3-9ce7-4cdd-b7b4-8899ea88d289" providerId="ADAL" clId="{E3161F74-B0AA-40DC-ADA6-35AF10BC3613}" dt="2024-07-14T07:48:49.693" v="1336" actId="47"/>
        <pc:sldMkLst>
          <pc:docMk/>
          <pc:sldMk cId="3272389013" sldId="2145706255"/>
        </pc:sldMkLst>
        <pc:spChg chg="mod">
          <ac:chgData name="Graf Thomas, INI-NET-VNC-HCS" userId="487bc3e3-9ce7-4cdd-b7b4-8899ea88d289" providerId="ADAL" clId="{E3161F74-B0AA-40DC-ADA6-35AF10BC3613}" dt="2024-07-14T07:26:07.296" v="629" actId="27636"/>
          <ac:spMkLst>
            <pc:docMk/>
            <pc:sldMk cId="3272389013" sldId="2145706255"/>
            <ac:spMk id="8" creationId="{FBE5644D-AF4A-4732-B3D8-A1D12FF5A0D4}"/>
          </ac:spMkLst>
        </pc:spChg>
      </pc:sldChg>
      <pc:sldChg chg="modSp add del mod">
        <pc:chgData name="Graf Thomas, INI-NET-VNC-HCS" userId="487bc3e3-9ce7-4cdd-b7b4-8899ea88d289" providerId="ADAL" clId="{E3161F74-B0AA-40DC-ADA6-35AF10BC3613}" dt="2024-07-14T07:45:42.785" v="1191" actId="47"/>
        <pc:sldMkLst>
          <pc:docMk/>
          <pc:sldMk cId="1690469041" sldId="2145706256"/>
        </pc:sldMkLst>
        <pc:spChg chg="mod">
          <ac:chgData name="Graf Thomas, INI-NET-VNC-HCS" userId="487bc3e3-9ce7-4cdd-b7b4-8899ea88d289" providerId="ADAL" clId="{E3161F74-B0AA-40DC-ADA6-35AF10BC3613}" dt="2024-07-14T07:26:07.283" v="628" actId="27636"/>
          <ac:spMkLst>
            <pc:docMk/>
            <pc:sldMk cId="1690469041" sldId="2145706256"/>
            <ac:spMk id="8" creationId="{FBE5644D-AF4A-4732-B3D8-A1D12FF5A0D4}"/>
          </ac:spMkLst>
        </pc:spChg>
      </pc:sldChg>
      <pc:sldChg chg="modSp add del mod">
        <pc:chgData name="Graf Thomas, INI-NET-VNC-HCS" userId="487bc3e3-9ce7-4cdd-b7b4-8899ea88d289" providerId="ADAL" clId="{E3161F74-B0AA-40DC-ADA6-35AF10BC3613}" dt="2024-07-14T07:40:37.478" v="1064" actId="47"/>
        <pc:sldMkLst>
          <pc:docMk/>
          <pc:sldMk cId="3624475416" sldId="2145706257"/>
        </pc:sldMkLst>
        <pc:spChg chg="mod">
          <ac:chgData name="Graf Thomas, INI-NET-VNC-HCS" userId="487bc3e3-9ce7-4cdd-b7b4-8899ea88d289" providerId="ADAL" clId="{E3161F74-B0AA-40DC-ADA6-35AF10BC3613}" dt="2024-07-14T07:26:07.279" v="627" actId="27636"/>
          <ac:spMkLst>
            <pc:docMk/>
            <pc:sldMk cId="3624475416" sldId="2145706257"/>
            <ac:spMk id="8" creationId="{FBE5644D-AF4A-4732-B3D8-A1D12FF5A0D4}"/>
          </ac:spMkLst>
        </pc:spChg>
      </pc:sldChg>
      <pc:sldChg chg="add ord">
        <pc:chgData name="Graf Thomas, INI-NET-VNC-HCS" userId="487bc3e3-9ce7-4cdd-b7b4-8899ea88d289" providerId="ADAL" clId="{E3161F74-B0AA-40DC-ADA6-35AF10BC3613}" dt="2024-07-14T06:38:49.991" v="70"/>
        <pc:sldMkLst>
          <pc:docMk/>
          <pc:sldMk cId="3137402905" sldId="2145706263"/>
        </pc:sldMkLst>
      </pc:sldChg>
      <pc:sldChg chg="add">
        <pc:chgData name="Graf Thomas, INI-NET-VNC-HCS" userId="487bc3e3-9ce7-4cdd-b7b4-8899ea88d289" providerId="ADAL" clId="{E3161F74-B0AA-40DC-ADA6-35AF10BC3613}" dt="2024-07-14T06:38:17.156" v="67"/>
        <pc:sldMkLst>
          <pc:docMk/>
          <pc:sldMk cId="293169079" sldId="2145706264"/>
        </pc:sldMkLst>
      </pc:sldChg>
      <pc:sldChg chg="add">
        <pc:chgData name="Graf Thomas, INI-NET-VNC-HCS" userId="487bc3e3-9ce7-4cdd-b7b4-8899ea88d289" providerId="ADAL" clId="{E3161F74-B0AA-40DC-ADA6-35AF10BC3613}" dt="2024-07-14T06:38:17.156" v="67"/>
        <pc:sldMkLst>
          <pc:docMk/>
          <pc:sldMk cId="791412387" sldId="2145706265"/>
        </pc:sldMkLst>
      </pc:sldChg>
      <pc:sldChg chg="add">
        <pc:chgData name="Graf Thomas, INI-NET-VNC-HCS" userId="487bc3e3-9ce7-4cdd-b7b4-8899ea88d289" providerId="ADAL" clId="{E3161F74-B0AA-40DC-ADA6-35AF10BC3613}" dt="2024-07-14T06:45:55.378" v="74"/>
        <pc:sldMkLst>
          <pc:docMk/>
          <pc:sldMk cId="1336863920" sldId="2145706266"/>
        </pc:sldMkLst>
      </pc:sldChg>
      <pc:sldChg chg="add">
        <pc:chgData name="Graf Thomas, INI-NET-VNC-HCS" userId="487bc3e3-9ce7-4cdd-b7b4-8899ea88d289" providerId="ADAL" clId="{E3161F74-B0AA-40DC-ADA6-35AF10BC3613}" dt="2024-07-14T06:38:46.613" v="68"/>
        <pc:sldMkLst>
          <pc:docMk/>
          <pc:sldMk cId="1302469771" sldId="2145706275"/>
        </pc:sldMkLst>
      </pc:sldChg>
      <pc:sldChg chg="modSp add mod">
        <pc:chgData name="Graf Thomas, INI-NET-VNC-HCS" userId="487bc3e3-9ce7-4cdd-b7b4-8899ea88d289" providerId="ADAL" clId="{E3161F74-B0AA-40DC-ADA6-35AF10BC3613}" dt="2024-07-14T06:56:21.522" v="79"/>
        <pc:sldMkLst>
          <pc:docMk/>
          <pc:sldMk cId="2378737000" sldId="2145706280"/>
        </pc:sldMkLst>
        <pc:spChg chg="mod">
          <ac:chgData name="Graf Thomas, INI-NET-VNC-HCS" userId="487bc3e3-9ce7-4cdd-b7b4-8899ea88d289" providerId="ADAL" clId="{E3161F74-B0AA-40DC-ADA6-35AF10BC3613}" dt="2024-07-14T06:56:21.522" v="79"/>
          <ac:spMkLst>
            <pc:docMk/>
            <pc:sldMk cId="2378737000" sldId="2145706280"/>
            <ac:spMk id="18" creationId="{7FEC644C-5BBA-9D8A-F77B-29E3C855E4BF}"/>
          </ac:spMkLst>
        </pc:spChg>
      </pc:sldChg>
      <pc:sldChg chg="delSp add mod">
        <pc:chgData name="Graf Thomas, INI-NET-VNC-HCS" userId="487bc3e3-9ce7-4cdd-b7b4-8899ea88d289" providerId="ADAL" clId="{E3161F74-B0AA-40DC-ADA6-35AF10BC3613}" dt="2024-07-14T06:46:20.699" v="77" actId="478"/>
        <pc:sldMkLst>
          <pc:docMk/>
          <pc:sldMk cId="2347697025" sldId="2145706284"/>
        </pc:sldMkLst>
        <pc:spChg chg="del">
          <ac:chgData name="Graf Thomas, INI-NET-VNC-HCS" userId="487bc3e3-9ce7-4cdd-b7b4-8899ea88d289" providerId="ADAL" clId="{E3161F74-B0AA-40DC-ADA6-35AF10BC3613}" dt="2024-07-14T06:46:18.772" v="75" actId="478"/>
          <ac:spMkLst>
            <pc:docMk/>
            <pc:sldMk cId="2347697025" sldId="2145706284"/>
            <ac:spMk id="5" creationId="{2FA16CA0-B5C5-D597-7EE9-B043AE34C049}"/>
          </ac:spMkLst>
        </pc:spChg>
        <pc:spChg chg="del">
          <ac:chgData name="Graf Thomas, INI-NET-VNC-HCS" userId="487bc3e3-9ce7-4cdd-b7b4-8899ea88d289" providerId="ADAL" clId="{E3161F74-B0AA-40DC-ADA6-35AF10BC3613}" dt="2024-07-14T06:46:19.923" v="76" actId="478"/>
          <ac:spMkLst>
            <pc:docMk/>
            <pc:sldMk cId="2347697025" sldId="2145706284"/>
            <ac:spMk id="7" creationId="{0AE08E15-A4B9-E553-556E-EBBE1E8B71D0}"/>
          </ac:spMkLst>
        </pc:spChg>
        <pc:spChg chg="del">
          <ac:chgData name="Graf Thomas, INI-NET-VNC-HCS" userId="487bc3e3-9ce7-4cdd-b7b4-8899ea88d289" providerId="ADAL" clId="{E3161F74-B0AA-40DC-ADA6-35AF10BC3613}" dt="2024-07-14T06:46:20.699" v="77" actId="478"/>
          <ac:spMkLst>
            <pc:docMk/>
            <pc:sldMk cId="2347697025" sldId="2145706284"/>
            <ac:spMk id="8" creationId="{6F4C610A-5ADC-21A3-9CA4-F85A3ADC7AC8}"/>
          </ac:spMkLst>
        </pc:spChg>
      </pc:sldChg>
      <pc:sldChg chg="delSp modSp add mod ord">
        <pc:chgData name="Graf Thomas, INI-NET-VNC-HCS" userId="487bc3e3-9ce7-4cdd-b7b4-8899ea88d289" providerId="ADAL" clId="{E3161F74-B0AA-40DC-ADA6-35AF10BC3613}" dt="2024-07-14T07:13:33.048" v="619" actId="20577"/>
        <pc:sldMkLst>
          <pc:docMk/>
          <pc:sldMk cId="2776042094" sldId="2145706285"/>
        </pc:sldMkLst>
        <pc:spChg chg="mod">
          <ac:chgData name="Graf Thomas, INI-NET-VNC-HCS" userId="487bc3e3-9ce7-4cdd-b7b4-8899ea88d289" providerId="ADAL" clId="{E3161F74-B0AA-40DC-ADA6-35AF10BC3613}" dt="2024-07-14T06:59:47.220" v="227" actId="20577"/>
          <ac:spMkLst>
            <pc:docMk/>
            <pc:sldMk cId="2776042094" sldId="2145706285"/>
            <ac:spMk id="2" creationId="{FF20F271-6F0D-4AC0-BB1D-F5C338165C13}"/>
          </ac:spMkLst>
        </pc:spChg>
        <pc:spChg chg="mod">
          <ac:chgData name="Graf Thomas, INI-NET-VNC-HCS" userId="487bc3e3-9ce7-4cdd-b7b4-8899ea88d289" providerId="ADAL" clId="{E3161F74-B0AA-40DC-ADA6-35AF10BC3613}" dt="2024-07-14T07:06:22.969" v="383"/>
          <ac:spMkLst>
            <pc:docMk/>
            <pc:sldMk cId="2776042094" sldId="2145706285"/>
            <ac:spMk id="3" creationId="{29C0DFD4-432D-4B0C-93DF-790441DCF5B9}"/>
          </ac:spMkLst>
        </pc:spChg>
        <pc:spChg chg="mod">
          <ac:chgData name="Graf Thomas, INI-NET-VNC-HCS" userId="487bc3e3-9ce7-4cdd-b7b4-8899ea88d289" providerId="ADAL" clId="{E3161F74-B0AA-40DC-ADA6-35AF10BC3613}" dt="2024-07-14T07:13:33.048" v="619" actId="20577"/>
          <ac:spMkLst>
            <pc:docMk/>
            <pc:sldMk cId="2776042094" sldId="2145706285"/>
            <ac:spMk id="15" creationId="{81CF2E6B-29BB-3B8F-A4FD-C8E8A73C2282}"/>
          </ac:spMkLst>
        </pc:spChg>
        <pc:cxnChg chg="mod">
          <ac:chgData name="Graf Thomas, INI-NET-VNC-HCS" userId="487bc3e3-9ce7-4cdd-b7b4-8899ea88d289" providerId="ADAL" clId="{E3161F74-B0AA-40DC-ADA6-35AF10BC3613}" dt="2024-07-14T07:06:27.851" v="384" actId="14100"/>
          <ac:cxnSpMkLst>
            <pc:docMk/>
            <pc:sldMk cId="2776042094" sldId="2145706285"/>
            <ac:cxnSpMk id="7" creationId="{83D1F104-0557-6EDA-760C-077B5A18DE98}"/>
          </ac:cxnSpMkLst>
        </pc:cxnChg>
        <pc:cxnChg chg="mod">
          <ac:chgData name="Graf Thomas, INI-NET-VNC-HCS" userId="487bc3e3-9ce7-4cdd-b7b4-8899ea88d289" providerId="ADAL" clId="{E3161F74-B0AA-40DC-ADA6-35AF10BC3613}" dt="2024-07-14T07:06:40.487" v="388" actId="14100"/>
          <ac:cxnSpMkLst>
            <pc:docMk/>
            <pc:sldMk cId="2776042094" sldId="2145706285"/>
            <ac:cxnSpMk id="8" creationId="{A9F78903-BA21-F9F1-17B7-8DE3FB96072C}"/>
          </ac:cxnSpMkLst>
        </pc:cxnChg>
        <pc:cxnChg chg="mod">
          <ac:chgData name="Graf Thomas, INI-NET-VNC-HCS" userId="487bc3e3-9ce7-4cdd-b7b4-8899ea88d289" providerId="ADAL" clId="{E3161F74-B0AA-40DC-ADA6-35AF10BC3613}" dt="2024-07-14T07:06:43.442" v="389" actId="14100"/>
          <ac:cxnSpMkLst>
            <pc:docMk/>
            <pc:sldMk cId="2776042094" sldId="2145706285"/>
            <ac:cxnSpMk id="10" creationId="{012D5E84-A66D-A11B-4F94-5E8AB181E3F5}"/>
          </ac:cxnSpMkLst>
        </pc:cxnChg>
        <pc:cxnChg chg="del">
          <ac:chgData name="Graf Thomas, INI-NET-VNC-HCS" userId="487bc3e3-9ce7-4cdd-b7b4-8899ea88d289" providerId="ADAL" clId="{E3161F74-B0AA-40DC-ADA6-35AF10BC3613}" dt="2024-07-14T07:06:46.455" v="390" actId="478"/>
          <ac:cxnSpMkLst>
            <pc:docMk/>
            <pc:sldMk cId="2776042094" sldId="2145706285"/>
            <ac:cxnSpMk id="12" creationId="{203D64F1-8CC7-7EF0-8739-0387E0C463A0}"/>
          </ac:cxnSpMkLst>
        </pc:cxnChg>
        <pc:cxnChg chg="del">
          <ac:chgData name="Graf Thomas, INI-NET-VNC-HCS" userId="487bc3e3-9ce7-4cdd-b7b4-8899ea88d289" providerId="ADAL" clId="{E3161F74-B0AA-40DC-ADA6-35AF10BC3613}" dt="2024-07-14T07:06:46.455" v="390" actId="478"/>
          <ac:cxnSpMkLst>
            <pc:docMk/>
            <pc:sldMk cId="2776042094" sldId="2145706285"/>
            <ac:cxnSpMk id="13" creationId="{A55AE0AF-510C-910F-E4AC-8ADE75D1ED34}"/>
          </ac:cxnSpMkLst>
        </pc:cxnChg>
        <pc:cxnChg chg="mod">
          <ac:chgData name="Graf Thomas, INI-NET-VNC-HCS" userId="487bc3e3-9ce7-4cdd-b7b4-8899ea88d289" providerId="ADAL" clId="{E3161F74-B0AA-40DC-ADA6-35AF10BC3613}" dt="2024-07-14T07:06:37.522" v="387" actId="14100"/>
          <ac:cxnSpMkLst>
            <pc:docMk/>
            <pc:sldMk cId="2776042094" sldId="2145706285"/>
            <ac:cxnSpMk id="21" creationId="{DCC108B7-3175-A51B-346A-B1C4613E8455}"/>
          </ac:cxnSpMkLst>
        </pc:cxnChg>
      </pc:sldChg>
      <pc:sldChg chg="add del">
        <pc:chgData name="Graf Thomas, INI-NET-VNC-HCS" userId="487bc3e3-9ce7-4cdd-b7b4-8899ea88d289" providerId="ADAL" clId="{E3161F74-B0AA-40DC-ADA6-35AF10BC3613}" dt="2024-07-14T07:39:42.123" v="1059" actId="47"/>
        <pc:sldMkLst>
          <pc:docMk/>
          <pc:sldMk cId="3254418192" sldId="2145706286"/>
        </pc:sldMkLst>
      </pc:sldChg>
      <pc:sldChg chg="addSp delSp modSp add mod">
        <pc:chgData name="Graf Thomas, INI-NET-VNC-HCS" userId="487bc3e3-9ce7-4cdd-b7b4-8899ea88d289" providerId="ADAL" clId="{E3161F74-B0AA-40DC-ADA6-35AF10BC3613}" dt="2024-07-14T07:39:21.367" v="1057" actId="1036"/>
        <pc:sldMkLst>
          <pc:docMk/>
          <pc:sldMk cId="1587501498" sldId="2145706287"/>
        </pc:sldMkLst>
        <pc:spChg chg="del">
          <ac:chgData name="Graf Thomas, INI-NET-VNC-HCS" userId="487bc3e3-9ce7-4cdd-b7b4-8899ea88d289" providerId="ADAL" clId="{E3161F74-B0AA-40DC-ADA6-35AF10BC3613}" dt="2024-07-14T07:38:15.806" v="981" actId="478"/>
          <ac:spMkLst>
            <pc:docMk/>
            <pc:sldMk cId="1587501498" sldId="2145706287"/>
            <ac:spMk id="3" creationId="{8958B48B-ADF9-4C08-071D-E75646D4DABC}"/>
          </ac:spMkLst>
        </pc:spChg>
        <pc:spChg chg="add mod">
          <ac:chgData name="Graf Thomas, INI-NET-VNC-HCS" userId="487bc3e3-9ce7-4cdd-b7b4-8899ea88d289" providerId="ADAL" clId="{E3161F74-B0AA-40DC-ADA6-35AF10BC3613}" dt="2024-07-14T07:39:21.367" v="1057" actId="1036"/>
          <ac:spMkLst>
            <pc:docMk/>
            <pc:sldMk cId="1587501498" sldId="2145706287"/>
            <ac:spMk id="5" creationId="{C6613F22-6DD1-56DE-935E-2C90E8C8CC57}"/>
          </ac:spMkLst>
        </pc:spChg>
        <pc:spChg chg="del">
          <ac:chgData name="Graf Thomas, INI-NET-VNC-HCS" userId="487bc3e3-9ce7-4cdd-b7b4-8899ea88d289" providerId="ADAL" clId="{E3161F74-B0AA-40DC-ADA6-35AF10BC3613}" dt="2024-07-14T07:38:11.866" v="980" actId="478"/>
          <ac:spMkLst>
            <pc:docMk/>
            <pc:sldMk cId="1587501498" sldId="2145706287"/>
            <ac:spMk id="9" creationId="{EB8EE06A-9C5A-1497-6091-14DF67137B7E}"/>
          </ac:spMkLst>
        </pc:spChg>
        <pc:spChg chg="del">
          <ac:chgData name="Graf Thomas, INI-NET-VNC-HCS" userId="487bc3e3-9ce7-4cdd-b7b4-8899ea88d289" providerId="ADAL" clId="{E3161F74-B0AA-40DC-ADA6-35AF10BC3613}" dt="2024-07-14T07:38:11.866" v="980" actId="478"/>
          <ac:spMkLst>
            <pc:docMk/>
            <pc:sldMk cId="1587501498" sldId="2145706287"/>
            <ac:spMk id="10" creationId="{71CF02A3-82A0-40D0-9B64-6B9FC20586A6}"/>
          </ac:spMkLst>
        </pc:spChg>
        <pc:spChg chg="del">
          <ac:chgData name="Graf Thomas, INI-NET-VNC-HCS" userId="487bc3e3-9ce7-4cdd-b7b4-8899ea88d289" providerId="ADAL" clId="{E3161F74-B0AA-40DC-ADA6-35AF10BC3613}" dt="2024-07-14T07:38:11.866" v="980" actId="478"/>
          <ac:spMkLst>
            <pc:docMk/>
            <pc:sldMk cId="1587501498" sldId="2145706287"/>
            <ac:spMk id="11" creationId="{0CFA25E0-D5B0-91D3-117C-26055F6E5CC6}"/>
          </ac:spMkLst>
        </pc:spChg>
        <pc:spChg chg="del">
          <ac:chgData name="Graf Thomas, INI-NET-VNC-HCS" userId="487bc3e3-9ce7-4cdd-b7b4-8899ea88d289" providerId="ADAL" clId="{E3161F74-B0AA-40DC-ADA6-35AF10BC3613}" dt="2024-07-14T07:38:11.866" v="980" actId="478"/>
          <ac:spMkLst>
            <pc:docMk/>
            <pc:sldMk cId="1587501498" sldId="2145706287"/>
            <ac:spMk id="15" creationId="{987BEEEE-087C-C4CD-2079-D081718361C6}"/>
          </ac:spMkLst>
        </pc:spChg>
        <pc:spChg chg="add mod">
          <ac:chgData name="Graf Thomas, INI-NET-VNC-HCS" userId="487bc3e3-9ce7-4cdd-b7b4-8899ea88d289" providerId="ADAL" clId="{E3161F74-B0AA-40DC-ADA6-35AF10BC3613}" dt="2024-07-14T07:39:21.367" v="1057" actId="1036"/>
          <ac:spMkLst>
            <pc:docMk/>
            <pc:sldMk cId="1587501498" sldId="2145706287"/>
            <ac:spMk id="16" creationId="{AB4CF674-59EF-DF02-1DAC-2E35F9D9BA83}"/>
          </ac:spMkLst>
        </pc:spChg>
        <pc:spChg chg="add mod">
          <ac:chgData name="Graf Thomas, INI-NET-VNC-HCS" userId="487bc3e3-9ce7-4cdd-b7b4-8899ea88d289" providerId="ADAL" clId="{E3161F74-B0AA-40DC-ADA6-35AF10BC3613}" dt="2024-07-14T07:39:21.367" v="1057" actId="1036"/>
          <ac:spMkLst>
            <pc:docMk/>
            <pc:sldMk cId="1587501498" sldId="2145706287"/>
            <ac:spMk id="18" creationId="{556EC099-FD21-AE64-3C6C-987C8F12E609}"/>
          </ac:spMkLst>
        </pc:spChg>
        <pc:spChg chg="mod">
          <ac:chgData name="Graf Thomas, INI-NET-VNC-HCS" userId="487bc3e3-9ce7-4cdd-b7b4-8899ea88d289" providerId="ADAL" clId="{E3161F74-B0AA-40DC-ADA6-35AF10BC3613}" dt="2024-07-14T07:39:07.275" v="1049" actId="20577"/>
          <ac:spMkLst>
            <pc:docMk/>
            <pc:sldMk cId="1587501498" sldId="2145706287"/>
            <ac:spMk id="48" creationId="{A48B1DB7-BCDC-5D18-F56D-8A1447F1B8BA}"/>
          </ac:spMkLst>
        </pc:spChg>
        <pc:picChg chg="del">
          <ac:chgData name="Graf Thomas, INI-NET-VNC-HCS" userId="487bc3e3-9ce7-4cdd-b7b4-8899ea88d289" providerId="ADAL" clId="{E3161F74-B0AA-40DC-ADA6-35AF10BC3613}" dt="2024-07-14T07:38:11.866" v="980" actId="478"/>
          <ac:picMkLst>
            <pc:docMk/>
            <pc:sldMk cId="1587501498" sldId="2145706287"/>
            <ac:picMk id="2" creationId="{A5C13DB2-576A-627A-2CF0-E34E57ACD645}"/>
          </ac:picMkLst>
        </pc:picChg>
        <pc:picChg chg="del">
          <ac:chgData name="Graf Thomas, INI-NET-VNC-HCS" userId="487bc3e3-9ce7-4cdd-b7b4-8899ea88d289" providerId="ADAL" clId="{E3161F74-B0AA-40DC-ADA6-35AF10BC3613}" dt="2024-07-14T07:38:15.806" v="981" actId="478"/>
          <ac:picMkLst>
            <pc:docMk/>
            <pc:sldMk cId="1587501498" sldId="2145706287"/>
            <ac:picMk id="4" creationId="{5AF1EF20-85A6-C0BB-1636-29832B2C67BB}"/>
          </ac:picMkLst>
        </pc:picChg>
        <pc:picChg chg="del">
          <ac:chgData name="Graf Thomas, INI-NET-VNC-HCS" userId="487bc3e3-9ce7-4cdd-b7b4-8899ea88d289" providerId="ADAL" clId="{E3161F74-B0AA-40DC-ADA6-35AF10BC3613}" dt="2024-07-14T07:38:15.806" v="981" actId="478"/>
          <ac:picMkLst>
            <pc:docMk/>
            <pc:sldMk cId="1587501498" sldId="2145706287"/>
            <ac:picMk id="8" creationId="{8D19947A-144F-1D80-B0F3-67F6872163F8}"/>
          </ac:picMkLst>
        </pc:picChg>
        <pc:picChg chg="del">
          <ac:chgData name="Graf Thomas, INI-NET-VNC-HCS" userId="487bc3e3-9ce7-4cdd-b7b4-8899ea88d289" providerId="ADAL" clId="{E3161F74-B0AA-40DC-ADA6-35AF10BC3613}" dt="2024-07-14T07:38:15.806" v="981" actId="478"/>
          <ac:picMkLst>
            <pc:docMk/>
            <pc:sldMk cId="1587501498" sldId="2145706287"/>
            <ac:picMk id="12" creationId="{6F2C0F71-B41B-ECC1-F60C-F8D3A587CFA6}"/>
          </ac:picMkLst>
        </pc:picChg>
        <pc:picChg chg="del">
          <ac:chgData name="Graf Thomas, INI-NET-VNC-HCS" userId="487bc3e3-9ce7-4cdd-b7b4-8899ea88d289" providerId="ADAL" clId="{E3161F74-B0AA-40DC-ADA6-35AF10BC3613}" dt="2024-07-14T07:38:15.806" v="981" actId="478"/>
          <ac:picMkLst>
            <pc:docMk/>
            <pc:sldMk cId="1587501498" sldId="2145706287"/>
            <ac:picMk id="14" creationId="{0CCB84FC-46E4-E41C-DF7F-CC97564CE789}"/>
          </ac:picMkLst>
        </pc:picChg>
        <pc:picChg chg="add mod">
          <ac:chgData name="Graf Thomas, INI-NET-VNC-HCS" userId="487bc3e3-9ce7-4cdd-b7b4-8899ea88d289" providerId="ADAL" clId="{E3161F74-B0AA-40DC-ADA6-35AF10BC3613}" dt="2024-07-14T07:39:21.367" v="1057" actId="1036"/>
          <ac:picMkLst>
            <pc:docMk/>
            <pc:sldMk cId="1587501498" sldId="2145706287"/>
            <ac:picMk id="17" creationId="{2DFFE5F3-98A9-B901-A816-EFFEF14A5B7E}"/>
          </ac:picMkLst>
        </pc:picChg>
        <pc:cxnChg chg="del">
          <ac:chgData name="Graf Thomas, INI-NET-VNC-HCS" userId="487bc3e3-9ce7-4cdd-b7b4-8899ea88d289" providerId="ADAL" clId="{E3161F74-B0AA-40DC-ADA6-35AF10BC3613}" dt="2024-07-14T07:38:15.806" v="981" actId="478"/>
          <ac:cxnSpMkLst>
            <pc:docMk/>
            <pc:sldMk cId="1587501498" sldId="2145706287"/>
            <ac:cxnSpMk id="7" creationId="{5B3D2B6C-895B-B128-3B64-BE465DF3780C}"/>
          </ac:cxnSpMkLst>
        </pc:cxnChg>
        <pc:cxnChg chg="del">
          <ac:chgData name="Graf Thomas, INI-NET-VNC-HCS" userId="487bc3e3-9ce7-4cdd-b7b4-8899ea88d289" providerId="ADAL" clId="{E3161F74-B0AA-40DC-ADA6-35AF10BC3613}" dt="2024-07-14T07:38:15.806" v="981" actId="478"/>
          <ac:cxnSpMkLst>
            <pc:docMk/>
            <pc:sldMk cId="1587501498" sldId="2145706287"/>
            <ac:cxnSpMk id="13" creationId="{9454752F-262C-79E4-AA8B-1ED9C821AA0C}"/>
          </ac:cxnSpMkLst>
        </pc:cxnChg>
      </pc:sldChg>
      <pc:sldChg chg="addSp delSp modSp add mod">
        <pc:chgData name="Graf Thomas, INI-NET-VNC-HCS" userId="487bc3e3-9ce7-4cdd-b7b4-8899ea88d289" providerId="ADAL" clId="{E3161F74-B0AA-40DC-ADA6-35AF10BC3613}" dt="2024-07-14T08:01:32.901" v="1657" actId="20577"/>
        <pc:sldMkLst>
          <pc:docMk/>
          <pc:sldMk cId="2006087439" sldId="2145706288"/>
        </pc:sldMkLst>
        <pc:spChg chg="add mod">
          <ac:chgData name="Graf Thomas, INI-NET-VNC-HCS" userId="487bc3e3-9ce7-4cdd-b7b4-8899ea88d289" providerId="ADAL" clId="{E3161F74-B0AA-40DC-ADA6-35AF10BC3613}" dt="2024-07-14T07:45:07.572" v="1186" actId="1076"/>
          <ac:spMkLst>
            <pc:docMk/>
            <pc:sldMk cId="2006087439" sldId="2145706288"/>
            <ac:spMk id="2" creationId="{9D61CFC8-455E-F3AD-F115-C08399D2FB3F}"/>
          </ac:spMkLst>
        </pc:spChg>
        <pc:spChg chg="add mod">
          <ac:chgData name="Graf Thomas, INI-NET-VNC-HCS" userId="487bc3e3-9ce7-4cdd-b7b4-8899ea88d289" providerId="ADAL" clId="{E3161F74-B0AA-40DC-ADA6-35AF10BC3613}" dt="2024-07-14T07:40:26.226" v="1063" actId="255"/>
          <ac:spMkLst>
            <pc:docMk/>
            <pc:sldMk cId="2006087439" sldId="2145706288"/>
            <ac:spMk id="3" creationId="{5C6F98D3-4061-4B0E-40E9-0238CE8D501C}"/>
          </ac:spMkLst>
        </pc:spChg>
        <pc:spChg chg="del">
          <ac:chgData name="Graf Thomas, INI-NET-VNC-HCS" userId="487bc3e3-9ce7-4cdd-b7b4-8899ea88d289" providerId="ADAL" clId="{E3161F74-B0AA-40DC-ADA6-35AF10BC3613}" dt="2024-07-14T07:39:54.998" v="1060" actId="478"/>
          <ac:spMkLst>
            <pc:docMk/>
            <pc:sldMk cId="2006087439" sldId="2145706288"/>
            <ac:spMk id="5" creationId="{C6613F22-6DD1-56DE-935E-2C90E8C8CC57}"/>
          </ac:spMkLst>
        </pc:spChg>
        <pc:spChg chg="add mod">
          <ac:chgData name="Graf Thomas, INI-NET-VNC-HCS" userId="487bc3e3-9ce7-4cdd-b7b4-8899ea88d289" providerId="ADAL" clId="{E3161F74-B0AA-40DC-ADA6-35AF10BC3613}" dt="2024-07-14T07:40:12.615" v="1062" actId="1076"/>
          <ac:spMkLst>
            <pc:docMk/>
            <pc:sldMk cId="2006087439" sldId="2145706288"/>
            <ac:spMk id="7" creationId="{DF19F707-B2A2-2A16-6A03-E73BE59795EE}"/>
          </ac:spMkLst>
        </pc:spChg>
        <pc:spChg chg="del">
          <ac:chgData name="Graf Thomas, INI-NET-VNC-HCS" userId="487bc3e3-9ce7-4cdd-b7b4-8899ea88d289" providerId="ADAL" clId="{E3161F74-B0AA-40DC-ADA6-35AF10BC3613}" dt="2024-07-14T07:39:54.998" v="1060" actId="478"/>
          <ac:spMkLst>
            <pc:docMk/>
            <pc:sldMk cId="2006087439" sldId="2145706288"/>
            <ac:spMk id="16" creationId="{AB4CF674-59EF-DF02-1DAC-2E35F9D9BA83}"/>
          </ac:spMkLst>
        </pc:spChg>
        <pc:spChg chg="del">
          <ac:chgData name="Graf Thomas, INI-NET-VNC-HCS" userId="487bc3e3-9ce7-4cdd-b7b4-8899ea88d289" providerId="ADAL" clId="{E3161F74-B0AA-40DC-ADA6-35AF10BC3613}" dt="2024-07-14T07:39:54.998" v="1060" actId="478"/>
          <ac:spMkLst>
            <pc:docMk/>
            <pc:sldMk cId="2006087439" sldId="2145706288"/>
            <ac:spMk id="18" creationId="{556EC099-FD21-AE64-3C6C-987C8F12E609}"/>
          </ac:spMkLst>
        </pc:spChg>
        <pc:spChg chg="mod">
          <ac:chgData name="Graf Thomas, INI-NET-VNC-HCS" userId="487bc3e3-9ce7-4cdd-b7b4-8899ea88d289" providerId="ADAL" clId="{E3161F74-B0AA-40DC-ADA6-35AF10BC3613}" dt="2024-07-14T08:01:32.901" v="1657" actId="20577"/>
          <ac:spMkLst>
            <pc:docMk/>
            <pc:sldMk cId="2006087439" sldId="2145706288"/>
            <ac:spMk id="48" creationId="{A48B1DB7-BCDC-5D18-F56D-8A1447F1B8BA}"/>
          </ac:spMkLst>
        </pc:spChg>
        <pc:picChg chg="add del mod">
          <ac:chgData name="Graf Thomas, INI-NET-VNC-HCS" userId="487bc3e3-9ce7-4cdd-b7b4-8899ea88d289" providerId="ADAL" clId="{E3161F74-B0AA-40DC-ADA6-35AF10BC3613}" dt="2024-07-14T07:45:24.004" v="1189" actId="478"/>
          <ac:picMkLst>
            <pc:docMk/>
            <pc:sldMk cId="2006087439" sldId="2145706288"/>
            <ac:picMk id="4" creationId="{88CC0EE4-B638-3C18-CC5C-48BC53AC5606}"/>
          </ac:picMkLst>
        </pc:picChg>
        <pc:picChg chg="add mod">
          <ac:chgData name="Graf Thomas, INI-NET-VNC-HCS" userId="487bc3e3-9ce7-4cdd-b7b4-8899ea88d289" providerId="ADAL" clId="{E3161F74-B0AA-40DC-ADA6-35AF10BC3613}" dt="2024-07-14T07:45:24.396" v="1190"/>
          <ac:picMkLst>
            <pc:docMk/>
            <pc:sldMk cId="2006087439" sldId="2145706288"/>
            <ac:picMk id="8" creationId="{8A7921E7-2525-34FB-6841-B5F01DECFEB7}"/>
          </ac:picMkLst>
        </pc:picChg>
        <pc:picChg chg="del">
          <ac:chgData name="Graf Thomas, INI-NET-VNC-HCS" userId="487bc3e3-9ce7-4cdd-b7b4-8899ea88d289" providerId="ADAL" clId="{E3161F74-B0AA-40DC-ADA6-35AF10BC3613}" dt="2024-07-14T07:39:54.998" v="1060" actId="478"/>
          <ac:picMkLst>
            <pc:docMk/>
            <pc:sldMk cId="2006087439" sldId="2145706288"/>
            <ac:picMk id="17" creationId="{2DFFE5F3-98A9-B901-A816-EFFEF14A5B7E}"/>
          </ac:picMkLst>
        </pc:picChg>
      </pc:sldChg>
      <pc:sldChg chg="addSp delSp modSp add mod">
        <pc:chgData name="Graf Thomas, INI-NET-VNC-HCS" userId="487bc3e3-9ce7-4cdd-b7b4-8899ea88d289" providerId="ADAL" clId="{E3161F74-B0AA-40DC-ADA6-35AF10BC3613}" dt="2024-07-14T07:58:32.790" v="1619" actId="20577"/>
        <pc:sldMkLst>
          <pc:docMk/>
          <pc:sldMk cId="1265367659" sldId="2145706289"/>
        </pc:sldMkLst>
        <pc:spChg chg="del">
          <ac:chgData name="Graf Thomas, INI-NET-VNC-HCS" userId="487bc3e3-9ce7-4cdd-b7b4-8899ea88d289" providerId="ADAL" clId="{E3161F74-B0AA-40DC-ADA6-35AF10BC3613}" dt="2024-07-14T07:43:02.490" v="1153" actId="478"/>
          <ac:spMkLst>
            <pc:docMk/>
            <pc:sldMk cId="1265367659" sldId="2145706289"/>
            <ac:spMk id="2" creationId="{9D61CFC8-455E-F3AD-F115-C08399D2FB3F}"/>
          </ac:spMkLst>
        </pc:spChg>
        <pc:spChg chg="del">
          <ac:chgData name="Graf Thomas, INI-NET-VNC-HCS" userId="487bc3e3-9ce7-4cdd-b7b4-8899ea88d289" providerId="ADAL" clId="{E3161F74-B0AA-40DC-ADA6-35AF10BC3613}" dt="2024-07-14T07:42:59.857" v="1152" actId="478"/>
          <ac:spMkLst>
            <pc:docMk/>
            <pc:sldMk cId="1265367659" sldId="2145706289"/>
            <ac:spMk id="3" creationId="{5C6F98D3-4061-4B0E-40E9-0238CE8D501C}"/>
          </ac:spMkLst>
        </pc:spChg>
        <pc:spChg chg="add mod">
          <ac:chgData name="Graf Thomas, INI-NET-VNC-HCS" userId="487bc3e3-9ce7-4cdd-b7b4-8899ea88d289" providerId="ADAL" clId="{E3161F74-B0AA-40DC-ADA6-35AF10BC3613}" dt="2024-07-14T07:56:18.788" v="1579" actId="20577"/>
          <ac:spMkLst>
            <pc:docMk/>
            <pc:sldMk cId="1265367659" sldId="2145706289"/>
            <ac:spMk id="5" creationId="{477E3269-AE0B-75EF-0438-609ED261D5F5}"/>
          </ac:spMkLst>
        </pc:spChg>
        <pc:spChg chg="del">
          <ac:chgData name="Graf Thomas, INI-NET-VNC-HCS" userId="487bc3e3-9ce7-4cdd-b7b4-8899ea88d289" providerId="ADAL" clId="{E3161F74-B0AA-40DC-ADA6-35AF10BC3613}" dt="2024-07-14T07:42:59.857" v="1152" actId="478"/>
          <ac:spMkLst>
            <pc:docMk/>
            <pc:sldMk cId="1265367659" sldId="2145706289"/>
            <ac:spMk id="7" creationId="{DF19F707-B2A2-2A16-6A03-E73BE59795EE}"/>
          </ac:spMkLst>
        </pc:spChg>
        <pc:spChg chg="add mod">
          <ac:chgData name="Graf Thomas, INI-NET-VNC-HCS" userId="487bc3e3-9ce7-4cdd-b7b4-8899ea88d289" providerId="ADAL" clId="{E3161F74-B0AA-40DC-ADA6-35AF10BC3613}" dt="2024-07-14T07:58:05.980" v="1600" actId="1076"/>
          <ac:spMkLst>
            <pc:docMk/>
            <pc:sldMk cId="1265367659" sldId="2145706289"/>
            <ac:spMk id="10" creationId="{D5BF30A0-2EDE-D753-5071-EAC623851B2A}"/>
          </ac:spMkLst>
        </pc:spChg>
        <pc:spChg chg="add mod">
          <ac:chgData name="Graf Thomas, INI-NET-VNC-HCS" userId="487bc3e3-9ce7-4cdd-b7b4-8899ea88d289" providerId="ADAL" clId="{E3161F74-B0AA-40DC-ADA6-35AF10BC3613}" dt="2024-07-14T07:57:57.540" v="1599" actId="14100"/>
          <ac:spMkLst>
            <pc:docMk/>
            <pc:sldMk cId="1265367659" sldId="2145706289"/>
            <ac:spMk id="13" creationId="{BB63D1CC-F8AF-E563-C0E8-E96F4B90A8F1}"/>
          </ac:spMkLst>
        </pc:spChg>
        <pc:spChg chg="mod">
          <ac:chgData name="Graf Thomas, INI-NET-VNC-HCS" userId="487bc3e3-9ce7-4cdd-b7b4-8899ea88d289" providerId="ADAL" clId="{E3161F74-B0AA-40DC-ADA6-35AF10BC3613}" dt="2024-07-14T07:58:32.790" v="1619" actId="20577"/>
          <ac:spMkLst>
            <pc:docMk/>
            <pc:sldMk cId="1265367659" sldId="2145706289"/>
            <ac:spMk id="48" creationId="{A48B1DB7-BCDC-5D18-F56D-8A1447F1B8BA}"/>
          </ac:spMkLst>
        </pc:spChg>
        <pc:picChg chg="del">
          <ac:chgData name="Graf Thomas, INI-NET-VNC-HCS" userId="487bc3e3-9ce7-4cdd-b7b4-8899ea88d289" providerId="ADAL" clId="{E3161F74-B0AA-40DC-ADA6-35AF10BC3613}" dt="2024-07-14T07:43:02.490" v="1153" actId="478"/>
          <ac:picMkLst>
            <pc:docMk/>
            <pc:sldMk cId="1265367659" sldId="2145706289"/>
            <ac:picMk id="4" creationId="{88CC0EE4-B638-3C18-CC5C-48BC53AC5606}"/>
          </ac:picMkLst>
        </pc:picChg>
        <pc:picChg chg="add mod">
          <ac:chgData name="Graf Thomas, INI-NET-VNC-HCS" userId="487bc3e3-9ce7-4cdd-b7b4-8899ea88d289" providerId="ADAL" clId="{E3161F74-B0AA-40DC-ADA6-35AF10BC3613}" dt="2024-07-14T07:44:28.465" v="1180" actId="1076"/>
          <ac:picMkLst>
            <pc:docMk/>
            <pc:sldMk cId="1265367659" sldId="2145706289"/>
            <ac:picMk id="8" creationId="{54154485-B928-B492-B0BF-0F2B48285B49}"/>
          </ac:picMkLst>
        </pc:picChg>
        <pc:picChg chg="add mod">
          <ac:chgData name="Graf Thomas, INI-NET-VNC-HCS" userId="487bc3e3-9ce7-4cdd-b7b4-8899ea88d289" providerId="ADAL" clId="{E3161F74-B0AA-40DC-ADA6-35AF10BC3613}" dt="2024-07-14T07:44:29.694" v="1181" actId="1076"/>
          <ac:picMkLst>
            <pc:docMk/>
            <pc:sldMk cId="1265367659" sldId="2145706289"/>
            <ac:picMk id="9" creationId="{2B0ED05A-090F-1833-44DF-BB03C2D98034}"/>
          </ac:picMkLst>
        </pc:picChg>
        <pc:picChg chg="add mod">
          <ac:chgData name="Graf Thomas, INI-NET-VNC-HCS" userId="487bc3e3-9ce7-4cdd-b7b4-8899ea88d289" providerId="ADAL" clId="{E3161F74-B0AA-40DC-ADA6-35AF10BC3613}" dt="2024-07-14T07:44:26.068" v="1179" actId="1076"/>
          <ac:picMkLst>
            <pc:docMk/>
            <pc:sldMk cId="1265367659" sldId="2145706289"/>
            <ac:picMk id="11" creationId="{A016D5FB-2A70-8FB0-B62D-016BEC79DF4B}"/>
          </ac:picMkLst>
        </pc:picChg>
        <pc:picChg chg="add mod">
          <ac:chgData name="Graf Thomas, INI-NET-VNC-HCS" userId="487bc3e3-9ce7-4cdd-b7b4-8899ea88d289" providerId="ADAL" clId="{E3161F74-B0AA-40DC-ADA6-35AF10BC3613}" dt="2024-07-14T07:58:05.980" v="1600" actId="1076"/>
          <ac:picMkLst>
            <pc:docMk/>
            <pc:sldMk cId="1265367659" sldId="2145706289"/>
            <ac:picMk id="12" creationId="{53FBDF35-349F-4A69-857C-9D3F5A1A82DE}"/>
          </ac:picMkLst>
        </pc:picChg>
        <pc:picChg chg="add mod">
          <ac:chgData name="Graf Thomas, INI-NET-VNC-HCS" userId="487bc3e3-9ce7-4cdd-b7b4-8899ea88d289" providerId="ADAL" clId="{E3161F74-B0AA-40DC-ADA6-35AF10BC3613}" dt="2024-07-14T07:57:54.766" v="1598" actId="1076"/>
          <ac:picMkLst>
            <pc:docMk/>
            <pc:sldMk cId="1265367659" sldId="2145706289"/>
            <ac:picMk id="14" creationId="{BD2E6EE8-E200-90CF-5E2F-040788DDDF24}"/>
          </ac:picMkLst>
        </pc:picChg>
      </pc:sldChg>
      <pc:sldChg chg="addSp delSp modSp add mod">
        <pc:chgData name="Graf Thomas, INI-NET-VNC-HCS" userId="487bc3e3-9ce7-4cdd-b7b4-8899ea88d289" providerId="ADAL" clId="{E3161F74-B0AA-40DC-ADA6-35AF10BC3613}" dt="2024-07-14T08:15:45.807" v="1669" actId="167"/>
        <pc:sldMkLst>
          <pc:docMk/>
          <pc:sldMk cId="9902367" sldId="2145706290"/>
        </pc:sldMkLst>
        <pc:spChg chg="add del mod">
          <ac:chgData name="Graf Thomas, INI-NET-VNC-HCS" userId="487bc3e3-9ce7-4cdd-b7b4-8899ea88d289" providerId="ADAL" clId="{E3161F74-B0AA-40DC-ADA6-35AF10BC3613}" dt="2024-07-14T08:15:32.048" v="1666" actId="478"/>
          <ac:spMkLst>
            <pc:docMk/>
            <pc:sldMk cId="9902367" sldId="2145706290"/>
            <ac:spMk id="3" creationId="{F687C8DA-194B-BC48-FDDD-1D97BA642BFB}"/>
          </ac:spMkLst>
        </pc:spChg>
        <pc:spChg chg="add mod">
          <ac:chgData name="Graf Thomas, INI-NET-VNC-HCS" userId="487bc3e3-9ce7-4cdd-b7b4-8899ea88d289" providerId="ADAL" clId="{E3161F74-B0AA-40DC-ADA6-35AF10BC3613}" dt="2024-07-14T08:15:32.962" v="1667"/>
          <ac:spMkLst>
            <pc:docMk/>
            <pc:sldMk cId="9902367" sldId="2145706290"/>
            <ac:spMk id="4" creationId="{94D1457C-AEF2-95BD-FBF7-B63B661B23C4}"/>
          </ac:spMkLst>
        </pc:spChg>
        <pc:spChg chg="del">
          <ac:chgData name="Graf Thomas, INI-NET-VNC-HCS" userId="487bc3e3-9ce7-4cdd-b7b4-8899ea88d289" providerId="ADAL" clId="{E3161F74-B0AA-40DC-ADA6-35AF10BC3613}" dt="2024-07-14T08:15:29.508" v="1665" actId="478"/>
          <ac:spMkLst>
            <pc:docMk/>
            <pc:sldMk cId="9902367" sldId="2145706290"/>
            <ac:spMk id="8" creationId="{E5677CA3-B23A-E701-471E-B07D77B4E223}"/>
          </ac:spMkLst>
        </pc:spChg>
        <pc:spChg chg="del">
          <ac:chgData name="Graf Thomas, INI-NET-VNC-HCS" userId="487bc3e3-9ce7-4cdd-b7b4-8899ea88d289" providerId="ADAL" clId="{E3161F74-B0AA-40DC-ADA6-35AF10BC3613}" dt="2024-07-14T08:15:29.508" v="1665" actId="478"/>
          <ac:spMkLst>
            <pc:docMk/>
            <pc:sldMk cId="9902367" sldId="2145706290"/>
            <ac:spMk id="9" creationId="{B670DE5F-A5F9-23E7-3050-437A93C6F879}"/>
          </ac:spMkLst>
        </pc:spChg>
        <pc:spChg chg="del">
          <ac:chgData name="Graf Thomas, INI-NET-VNC-HCS" userId="487bc3e3-9ce7-4cdd-b7b4-8899ea88d289" providerId="ADAL" clId="{E3161F74-B0AA-40DC-ADA6-35AF10BC3613}" dt="2024-07-14T08:15:29.508" v="1665" actId="478"/>
          <ac:spMkLst>
            <pc:docMk/>
            <pc:sldMk cId="9902367" sldId="2145706290"/>
            <ac:spMk id="10" creationId="{D349DEB3-4D3A-5208-B274-3EDB4A2B18F4}"/>
          </ac:spMkLst>
        </pc:spChg>
        <pc:spChg chg="del">
          <ac:chgData name="Graf Thomas, INI-NET-VNC-HCS" userId="487bc3e3-9ce7-4cdd-b7b4-8899ea88d289" providerId="ADAL" clId="{E3161F74-B0AA-40DC-ADA6-35AF10BC3613}" dt="2024-07-14T08:15:29.508" v="1665" actId="478"/>
          <ac:spMkLst>
            <pc:docMk/>
            <pc:sldMk cId="9902367" sldId="2145706290"/>
            <ac:spMk id="11" creationId="{8D3FA8E1-4837-ED42-27D3-F4F2A40BAC04}"/>
          </ac:spMkLst>
        </pc:spChg>
        <pc:spChg chg="del">
          <ac:chgData name="Graf Thomas, INI-NET-VNC-HCS" userId="487bc3e3-9ce7-4cdd-b7b4-8899ea88d289" providerId="ADAL" clId="{E3161F74-B0AA-40DC-ADA6-35AF10BC3613}" dt="2024-07-14T08:15:29.508" v="1665" actId="478"/>
          <ac:spMkLst>
            <pc:docMk/>
            <pc:sldMk cId="9902367" sldId="2145706290"/>
            <ac:spMk id="12" creationId="{BB2371D0-B9FE-D913-1ABB-EE7D8DF2A325}"/>
          </ac:spMkLst>
        </pc:spChg>
        <pc:spChg chg="del">
          <ac:chgData name="Graf Thomas, INI-NET-VNC-HCS" userId="487bc3e3-9ce7-4cdd-b7b4-8899ea88d289" providerId="ADAL" clId="{E3161F74-B0AA-40DC-ADA6-35AF10BC3613}" dt="2024-07-14T08:15:29.508" v="1665" actId="478"/>
          <ac:spMkLst>
            <pc:docMk/>
            <pc:sldMk cId="9902367" sldId="2145706290"/>
            <ac:spMk id="13" creationId="{509802C0-BFFB-9B0F-A529-E60CDD518439}"/>
          </ac:spMkLst>
        </pc:spChg>
        <pc:spChg chg="del">
          <ac:chgData name="Graf Thomas, INI-NET-VNC-HCS" userId="487bc3e3-9ce7-4cdd-b7b4-8899ea88d289" providerId="ADAL" clId="{E3161F74-B0AA-40DC-ADA6-35AF10BC3613}" dt="2024-07-14T08:15:29.508" v="1665" actId="478"/>
          <ac:spMkLst>
            <pc:docMk/>
            <pc:sldMk cId="9902367" sldId="2145706290"/>
            <ac:spMk id="18" creationId="{7FEC644C-5BBA-9D8A-F77B-29E3C855E4BF}"/>
          </ac:spMkLst>
        </pc:spChg>
        <pc:picChg chg="add mod">
          <ac:chgData name="Graf Thomas, INI-NET-VNC-HCS" userId="487bc3e3-9ce7-4cdd-b7b4-8899ea88d289" providerId="ADAL" clId="{E3161F74-B0AA-40DC-ADA6-35AF10BC3613}" dt="2024-07-14T08:15:32.962" v="1667"/>
          <ac:picMkLst>
            <pc:docMk/>
            <pc:sldMk cId="9902367" sldId="2145706290"/>
            <ac:picMk id="5" creationId="{61C68E00-6D94-F42D-C3EE-88A0B5A5937D}"/>
          </ac:picMkLst>
        </pc:picChg>
        <pc:picChg chg="add mod">
          <ac:chgData name="Graf Thomas, INI-NET-VNC-HCS" userId="487bc3e3-9ce7-4cdd-b7b4-8899ea88d289" providerId="ADAL" clId="{E3161F74-B0AA-40DC-ADA6-35AF10BC3613}" dt="2024-07-14T08:15:45.807" v="1669" actId="167"/>
          <ac:picMkLst>
            <pc:docMk/>
            <pc:sldMk cId="9902367" sldId="2145706290"/>
            <ac:picMk id="17" creationId="{F0F1E9D6-10B1-F83D-34D5-27D029B3114F}"/>
          </ac:picMkLst>
        </pc:picChg>
        <pc:picChg chg="del">
          <ac:chgData name="Graf Thomas, INI-NET-VNC-HCS" userId="487bc3e3-9ce7-4cdd-b7b4-8899ea88d289" providerId="ADAL" clId="{E3161F74-B0AA-40DC-ADA6-35AF10BC3613}" dt="2024-07-14T08:15:29.508" v="1665" actId="478"/>
          <ac:picMkLst>
            <pc:docMk/>
            <pc:sldMk cId="9902367" sldId="2145706290"/>
            <ac:picMk id="20" creationId="{308323BF-D73B-AF00-8DDF-30CFCC18A6A6}"/>
          </ac:picMkLst>
        </pc:picChg>
        <pc:picChg chg="del">
          <ac:chgData name="Graf Thomas, INI-NET-VNC-HCS" userId="487bc3e3-9ce7-4cdd-b7b4-8899ea88d289" providerId="ADAL" clId="{E3161F74-B0AA-40DC-ADA6-35AF10BC3613}" dt="2024-07-14T08:15:29.508" v="1665" actId="478"/>
          <ac:picMkLst>
            <pc:docMk/>
            <pc:sldMk cId="9902367" sldId="2145706290"/>
            <ac:picMk id="22" creationId="{3135CB06-6366-E8A5-0C19-26F32ED0F61C}"/>
          </ac:picMkLst>
        </pc:picChg>
        <pc:picChg chg="del">
          <ac:chgData name="Graf Thomas, INI-NET-VNC-HCS" userId="487bc3e3-9ce7-4cdd-b7b4-8899ea88d289" providerId="ADAL" clId="{E3161F74-B0AA-40DC-ADA6-35AF10BC3613}" dt="2024-07-14T08:15:29.508" v="1665" actId="478"/>
          <ac:picMkLst>
            <pc:docMk/>
            <pc:sldMk cId="9902367" sldId="2145706290"/>
            <ac:picMk id="23" creationId="{63747016-76D5-353E-8259-8DF586E7D8ED}"/>
          </ac:picMkLst>
        </pc:picChg>
        <pc:cxnChg chg="add mod">
          <ac:chgData name="Graf Thomas, INI-NET-VNC-HCS" userId="487bc3e3-9ce7-4cdd-b7b4-8899ea88d289" providerId="ADAL" clId="{E3161F74-B0AA-40DC-ADA6-35AF10BC3613}" dt="2024-07-14T08:15:32.962" v="1667"/>
          <ac:cxnSpMkLst>
            <pc:docMk/>
            <pc:sldMk cId="9902367" sldId="2145706290"/>
            <ac:cxnSpMk id="7" creationId="{B36ECB33-A792-C7CE-A3DA-9B928204F1D8}"/>
          </ac:cxnSpMkLst>
        </pc:cxnChg>
        <pc:cxnChg chg="add mod">
          <ac:chgData name="Graf Thomas, INI-NET-VNC-HCS" userId="487bc3e3-9ce7-4cdd-b7b4-8899ea88d289" providerId="ADAL" clId="{E3161F74-B0AA-40DC-ADA6-35AF10BC3613}" dt="2024-07-14T08:15:32.962" v="1667"/>
          <ac:cxnSpMkLst>
            <pc:docMk/>
            <pc:sldMk cId="9902367" sldId="2145706290"/>
            <ac:cxnSpMk id="14" creationId="{DF8FFC08-AD32-126D-410C-DE1D65099B3F}"/>
          </ac:cxnSpMkLst>
        </pc:cxnChg>
        <pc:cxnChg chg="add mod">
          <ac:chgData name="Graf Thomas, INI-NET-VNC-HCS" userId="487bc3e3-9ce7-4cdd-b7b4-8899ea88d289" providerId="ADAL" clId="{E3161F74-B0AA-40DC-ADA6-35AF10BC3613}" dt="2024-07-14T08:15:32.962" v="1667"/>
          <ac:cxnSpMkLst>
            <pc:docMk/>
            <pc:sldMk cId="9902367" sldId="2145706290"/>
            <ac:cxnSpMk id="15" creationId="{3AB90515-8012-B50E-1F7E-08EFEAD19B7A}"/>
          </ac:cxnSpMkLst>
        </pc:cxnChg>
        <pc:cxnChg chg="add mod">
          <ac:chgData name="Graf Thomas, INI-NET-VNC-HCS" userId="487bc3e3-9ce7-4cdd-b7b4-8899ea88d289" providerId="ADAL" clId="{E3161F74-B0AA-40DC-ADA6-35AF10BC3613}" dt="2024-07-14T08:15:32.962" v="1667"/>
          <ac:cxnSpMkLst>
            <pc:docMk/>
            <pc:sldMk cId="9902367" sldId="2145706290"/>
            <ac:cxnSpMk id="16" creationId="{8BAB2A93-1FD4-1171-26E5-EFE2B463BEA8}"/>
          </ac:cxnSpMkLst>
        </pc:cxnChg>
      </pc:sldChg>
      <pc:sldChg chg="addSp delSp modSp add del mod">
        <pc:chgData name="Graf Thomas, INI-NET-VNC-HCS" userId="487bc3e3-9ce7-4cdd-b7b4-8899ea88d289" providerId="ADAL" clId="{E3161F74-B0AA-40DC-ADA6-35AF10BC3613}" dt="2024-07-14T07:58:07.858" v="1601" actId="47"/>
        <pc:sldMkLst>
          <pc:docMk/>
          <pc:sldMk cId="1748831945" sldId="2145706290"/>
        </pc:sldMkLst>
        <pc:spChg chg="add mod">
          <ac:chgData name="Graf Thomas, INI-NET-VNC-HCS" userId="487bc3e3-9ce7-4cdd-b7b4-8899ea88d289" providerId="ADAL" clId="{E3161F74-B0AA-40DC-ADA6-35AF10BC3613}" dt="2024-07-14T07:47:08.185" v="1276" actId="1076"/>
          <ac:spMkLst>
            <pc:docMk/>
            <pc:sldMk cId="1748831945" sldId="2145706290"/>
            <ac:spMk id="2" creationId="{9FA702A3-8518-A717-191D-7D623BAEBED3}"/>
          </ac:spMkLst>
        </pc:spChg>
        <pc:spChg chg="add mod">
          <ac:chgData name="Graf Thomas, INI-NET-VNC-HCS" userId="487bc3e3-9ce7-4cdd-b7b4-8899ea88d289" providerId="ADAL" clId="{E3161F74-B0AA-40DC-ADA6-35AF10BC3613}" dt="2024-07-14T07:56:53.493" v="1581" actId="20577"/>
          <ac:spMkLst>
            <pc:docMk/>
            <pc:sldMk cId="1748831945" sldId="2145706290"/>
            <ac:spMk id="4" creationId="{EC752D94-E12C-312B-9BC1-608CE54EF71C}"/>
          </ac:spMkLst>
        </pc:spChg>
        <pc:spChg chg="del">
          <ac:chgData name="Graf Thomas, INI-NET-VNC-HCS" userId="487bc3e3-9ce7-4cdd-b7b4-8899ea88d289" providerId="ADAL" clId="{E3161F74-B0AA-40DC-ADA6-35AF10BC3613}" dt="2024-07-14T07:46:33.656" v="1237" actId="478"/>
          <ac:spMkLst>
            <pc:docMk/>
            <pc:sldMk cId="1748831945" sldId="2145706290"/>
            <ac:spMk id="5" creationId="{477E3269-AE0B-75EF-0438-609ED261D5F5}"/>
          </ac:spMkLst>
        </pc:spChg>
        <pc:spChg chg="del">
          <ac:chgData name="Graf Thomas, INI-NET-VNC-HCS" userId="487bc3e3-9ce7-4cdd-b7b4-8899ea88d289" providerId="ADAL" clId="{E3161F74-B0AA-40DC-ADA6-35AF10BC3613}" dt="2024-07-14T07:46:30.673" v="1236" actId="478"/>
          <ac:spMkLst>
            <pc:docMk/>
            <pc:sldMk cId="1748831945" sldId="2145706290"/>
            <ac:spMk id="10" creationId="{D5BF30A0-2EDE-D753-5071-EAC623851B2A}"/>
          </ac:spMkLst>
        </pc:spChg>
        <pc:spChg chg="mod">
          <ac:chgData name="Graf Thomas, INI-NET-VNC-HCS" userId="487bc3e3-9ce7-4cdd-b7b4-8899ea88d289" providerId="ADAL" clId="{E3161F74-B0AA-40DC-ADA6-35AF10BC3613}" dt="2024-07-14T07:48:44.673" v="1335" actId="20577"/>
          <ac:spMkLst>
            <pc:docMk/>
            <pc:sldMk cId="1748831945" sldId="2145706290"/>
            <ac:spMk id="48" creationId="{A48B1DB7-BCDC-5D18-F56D-8A1447F1B8BA}"/>
          </ac:spMkLst>
        </pc:spChg>
        <pc:picChg chg="add mod">
          <ac:chgData name="Graf Thomas, INI-NET-VNC-HCS" userId="487bc3e3-9ce7-4cdd-b7b4-8899ea88d289" providerId="ADAL" clId="{E3161F74-B0AA-40DC-ADA6-35AF10BC3613}" dt="2024-07-14T07:47:08.185" v="1276" actId="1076"/>
          <ac:picMkLst>
            <pc:docMk/>
            <pc:sldMk cId="1748831945" sldId="2145706290"/>
            <ac:picMk id="3" creationId="{63CB4813-A67A-3E27-9952-F919B3DA76B2}"/>
          </ac:picMkLst>
        </pc:picChg>
        <pc:picChg chg="add mod">
          <ac:chgData name="Graf Thomas, INI-NET-VNC-HCS" userId="487bc3e3-9ce7-4cdd-b7b4-8899ea88d289" providerId="ADAL" clId="{E3161F74-B0AA-40DC-ADA6-35AF10BC3613}" dt="2024-07-14T07:48:08.082" v="1280" actId="1076"/>
          <ac:picMkLst>
            <pc:docMk/>
            <pc:sldMk cId="1748831945" sldId="2145706290"/>
            <ac:picMk id="7" creationId="{12B96E1F-D705-5FC0-450E-3620E4FEBB77}"/>
          </ac:picMkLst>
        </pc:picChg>
        <pc:picChg chg="del">
          <ac:chgData name="Graf Thomas, INI-NET-VNC-HCS" userId="487bc3e3-9ce7-4cdd-b7b4-8899ea88d289" providerId="ADAL" clId="{E3161F74-B0AA-40DC-ADA6-35AF10BC3613}" dt="2024-07-14T07:46:33.656" v="1237" actId="478"/>
          <ac:picMkLst>
            <pc:docMk/>
            <pc:sldMk cId="1748831945" sldId="2145706290"/>
            <ac:picMk id="8" creationId="{54154485-B928-B492-B0BF-0F2B48285B49}"/>
          </ac:picMkLst>
        </pc:picChg>
        <pc:picChg chg="del">
          <ac:chgData name="Graf Thomas, INI-NET-VNC-HCS" userId="487bc3e3-9ce7-4cdd-b7b4-8899ea88d289" providerId="ADAL" clId="{E3161F74-B0AA-40DC-ADA6-35AF10BC3613}" dt="2024-07-14T07:46:33.656" v="1237" actId="478"/>
          <ac:picMkLst>
            <pc:docMk/>
            <pc:sldMk cId="1748831945" sldId="2145706290"/>
            <ac:picMk id="9" creationId="{2B0ED05A-090F-1833-44DF-BB03C2D98034}"/>
          </ac:picMkLst>
        </pc:picChg>
        <pc:picChg chg="del">
          <ac:chgData name="Graf Thomas, INI-NET-VNC-HCS" userId="487bc3e3-9ce7-4cdd-b7b4-8899ea88d289" providerId="ADAL" clId="{E3161F74-B0AA-40DC-ADA6-35AF10BC3613}" dt="2024-07-14T07:46:33.656" v="1237" actId="478"/>
          <ac:picMkLst>
            <pc:docMk/>
            <pc:sldMk cId="1748831945" sldId="2145706290"/>
            <ac:picMk id="11" creationId="{A016D5FB-2A70-8FB0-B62D-016BEC79DF4B}"/>
          </ac:picMkLst>
        </pc:picChg>
        <pc:picChg chg="del">
          <ac:chgData name="Graf Thomas, INI-NET-VNC-HCS" userId="487bc3e3-9ce7-4cdd-b7b4-8899ea88d289" providerId="ADAL" clId="{E3161F74-B0AA-40DC-ADA6-35AF10BC3613}" dt="2024-07-14T07:46:30.673" v="1236" actId="478"/>
          <ac:picMkLst>
            <pc:docMk/>
            <pc:sldMk cId="1748831945" sldId="2145706290"/>
            <ac:picMk id="12" creationId="{53FBDF35-349F-4A69-857C-9D3F5A1A82DE}"/>
          </ac:picMkLst>
        </pc:picChg>
        <pc:picChg chg="add mod">
          <ac:chgData name="Graf Thomas, INI-NET-VNC-HCS" userId="487bc3e3-9ce7-4cdd-b7b4-8899ea88d289" providerId="ADAL" clId="{E3161F74-B0AA-40DC-ADA6-35AF10BC3613}" dt="2024-07-14T07:48:20.513" v="1282" actId="1076"/>
          <ac:picMkLst>
            <pc:docMk/>
            <pc:sldMk cId="1748831945" sldId="2145706290"/>
            <ac:picMk id="13" creationId="{1AA75656-8F22-C0C8-37FD-75C251944640}"/>
          </ac:picMkLst>
        </pc:picChg>
        <pc:picChg chg="add mod">
          <ac:chgData name="Graf Thomas, INI-NET-VNC-HCS" userId="487bc3e3-9ce7-4cdd-b7b4-8899ea88d289" providerId="ADAL" clId="{E3161F74-B0AA-40DC-ADA6-35AF10BC3613}" dt="2024-07-14T07:48:11.474" v="1281" actId="1076"/>
          <ac:picMkLst>
            <pc:docMk/>
            <pc:sldMk cId="1748831945" sldId="2145706290"/>
            <ac:picMk id="14" creationId="{34254934-04FD-BAED-1B10-986ECFCF2320}"/>
          </ac:picMkLst>
        </pc:picChg>
      </pc:sldChg>
      <pc:sldMasterChg chg="delSldLayout">
        <pc:chgData name="Graf Thomas, INI-NET-VNC-HCS" userId="487bc3e3-9ce7-4cdd-b7b4-8899ea88d289" providerId="ADAL" clId="{E3161F74-B0AA-40DC-ADA6-35AF10BC3613}" dt="2024-07-14T07:28:16.212" v="691" actId="47"/>
        <pc:sldMasterMkLst>
          <pc:docMk/>
          <pc:sldMasterMk cId="1575956613" sldId="2147483648"/>
        </pc:sldMasterMkLst>
        <pc:sldLayoutChg chg="del">
          <pc:chgData name="Graf Thomas, INI-NET-VNC-HCS" userId="487bc3e3-9ce7-4cdd-b7b4-8899ea88d289" providerId="ADAL" clId="{E3161F74-B0AA-40DC-ADA6-35AF10BC3613}" dt="2024-07-14T07:28:16.212" v="691" actId="47"/>
          <pc:sldLayoutMkLst>
            <pc:docMk/>
            <pc:sldMasterMk cId="1575956613" sldId="2147483648"/>
            <pc:sldLayoutMk cId="1134800388" sldId="2147483662"/>
          </pc:sldLayoutMkLst>
        </pc:sldLayoutChg>
        <pc:sldLayoutChg chg="del">
          <pc:chgData name="Graf Thomas, INI-NET-VNC-HCS" userId="487bc3e3-9ce7-4cdd-b7b4-8899ea88d289" providerId="ADAL" clId="{E3161F74-B0AA-40DC-ADA6-35AF10BC3613}" dt="2024-07-14T07:28:16.212" v="691" actId="47"/>
          <pc:sldLayoutMkLst>
            <pc:docMk/>
            <pc:sldMasterMk cId="1575956613" sldId="2147483648"/>
            <pc:sldLayoutMk cId="34337616" sldId="2147483663"/>
          </pc:sldLayoutMkLst>
        </pc:sldLayoutChg>
      </pc:sldMasterChg>
      <pc:sldMasterChg chg="del delSldLayout">
        <pc:chgData name="Graf Thomas, INI-NET-VNC-HCS" userId="487bc3e3-9ce7-4cdd-b7b4-8899ea88d289" providerId="ADAL" clId="{E3161F74-B0AA-40DC-ADA6-35AF10BC3613}" dt="2024-07-14T08:15:52.498" v="1670" actId="47"/>
        <pc:sldMasterMkLst>
          <pc:docMk/>
          <pc:sldMasterMk cId="1757921049" sldId="2147483662"/>
        </pc:sldMasterMkLst>
        <pc:sldLayoutChg chg="del">
          <pc:chgData name="Graf Thomas, INI-NET-VNC-HCS" userId="487bc3e3-9ce7-4cdd-b7b4-8899ea88d289" providerId="ADAL" clId="{E3161F74-B0AA-40DC-ADA6-35AF10BC3613}" dt="2024-07-14T08:15:52.498" v="1670" actId="47"/>
          <pc:sldLayoutMkLst>
            <pc:docMk/>
            <pc:sldMasterMk cId="1757921049" sldId="2147483662"/>
            <pc:sldLayoutMk cId="2898300191" sldId="2147483663"/>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464070142" sldId="2147483664"/>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538067406" sldId="2147483665"/>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3824125499" sldId="2147483666"/>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826083309" sldId="2147483667"/>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306171648" sldId="2147483668"/>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672757821" sldId="2147483669"/>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3655085904" sldId="2147483670"/>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3639303314" sldId="2147483671"/>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1802992599" sldId="2147483672"/>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702871820" sldId="2147483673"/>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3294083474" sldId="2147483674"/>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5992461" sldId="2147483675"/>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172621788" sldId="2147483676"/>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1575070959" sldId="2147483677"/>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328002019" sldId="2147483678"/>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839323466" sldId="2147483679"/>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554417616" sldId="2147483680"/>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3805185303" sldId="2147483681"/>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790935120" sldId="2147483682"/>
          </pc:sldLayoutMkLst>
        </pc:sldLayoutChg>
      </pc:sldMasterChg>
      <pc:sldMasterChg chg="del delSldLayout">
        <pc:chgData name="Graf Thomas, INI-NET-VNC-HCS" userId="487bc3e3-9ce7-4cdd-b7b4-8899ea88d289" providerId="ADAL" clId="{E3161F74-B0AA-40DC-ADA6-35AF10BC3613}" dt="2024-07-14T07:54:55.461" v="1524" actId="47"/>
        <pc:sldMasterMkLst>
          <pc:docMk/>
          <pc:sldMasterMk cId="2545086823" sldId="2147483662"/>
        </pc:sldMasterMkLst>
        <pc:sldLayoutChg chg="del">
          <pc:chgData name="Graf Thomas, INI-NET-VNC-HCS" userId="487bc3e3-9ce7-4cdd-b7b4-8899ea88d289" providerId="ADAL" clId="{E3161F74-B0AA-40DC-ADA6-35AF10BC3613}" dt="2024-07-14T07:54:55.461" v="1524" actId="47"/>
          <pc:sldLayoutMkLst>
            <pc:docMk/>
            <pc:sldMasterMk cId="2545086823" sldId="2147483662"/>
            <pc:sldLayoutMk cId="3183092593" sldId="2147483663"/>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431865408" sldId="2147483664"/>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912152914" sldId="2147483665"/>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2938781674" sldId="2147483666"/>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919241615" sldId="2147483667"/>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147272679" sldId="2147483668"/>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9497090" sldId="2147483669"/>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4073284834" sldId="2147483670"/>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370275604" sldId="2147483671"/>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202351251" sldId="2147483672"/>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185650037" sldId="2147483673"/>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035918076" sldId="2147483674"/>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2582357164" sldId="2147483675"/>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52445552" sldId="2147483676"/>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702470056" sldId="2147483677"/>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334645053" sldId="2147483678"/>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692442835" sldId="2147483679"/>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2321864609" sldId="2147483680"/>
          </pc:sldLayoutMkLst>
        </pc:sldLayoutChg>
      </pc:sldMasterChg>
    </pc:docChg>
  </pc:docChgLst>
  <pc:docChgLst>
    <pc:chgData name="Graf Thomas, INI-NET-VNC-HCS" userId="487bc3e3-9ce7-4cdd-b7b4-8899ea88d289" providerId="ADAL" clId="{D5F81756-EA00-4B65-9234-A0FB2F3D032D}"/>
    <pc:docChg chg="undo custSel addSld delSld modSld sldOrd delMainMaster">
      <pc:chgData name="Graf Thomas, INI-NET-VNC-HCS" userId="487bc3e3-9ce7-4cdd-b7b4-8899ea88d289" providerId="ADAL" clId="{D5F81756-EA00-4B65-9234-A0FB2F3D032D}" dt="2024-07-13T16:18:17.736" v="601" actId="20577"/>
      <pc:docMkLst>
        <pc:docMk/>
      </pc:docMkLst>
      <pc:sldChg chg="modSp del mod">
        <pc:chgData name="Graf Thomas, INI-NET-VNC-HCS" userId="487bc3e3-9ce7-4cdd-b7b4-8899ea88d289" providerId="ADAL" clId="{D5F81756-EA00-4B65-9234-A0FB2F3D032D}" dt="2024-07-13T15:46:30.021" v="77" actId="47"/>
        <pc:sldMkLst>
          <pc:docMk/>
          <pc:sldMk cId="692774623" sldId="952"/>
        </pc:sldMkLst>
        <pc:spChg chg="mod">
          <ac:chgData name="Graf Thomas, INI-NET-VNC-HCS" userId="487bc3e3-9ce7-4cdd-b7b4-8899ea88d289" providerId="ADAL" clId="{D5F81756-EA00-4B65-9234-A0FB2F3D032D}" dt="2024-07-13T15:41:55.414" v="59" actId="20577"/>
          <ac:spMkLst>
            <pc:docMk/>
            <pc:sldMk cId="692774623" sldId="952"/>
            <ac:spMk id="5" creationId="{AE0C8B0E-A4DE-0F83-CE09-A20D71FC3655}"/>
          </ac:spMkLst>
        </pc:spChg>
        <pc:spChg chg="mod">
          <ac:chgData name="Graf Thomas, INI-NET-VNC-HCS" userId="487bc3e3-9ce7-4cdd-b7b4-8899ea88d289" providerId="ADAL" clId="{D5F81756-EA00-4B65-9234-A0FB2F3D032D}" dt="2024-07-13T15:39:04.108" v="2" actId="20577"/>
          <ac:spMkLst>
            <pc:docMk/>
            <pc:sldMk cId="692774623" sldId="952"/>
            <ac:spMk id="25" creationId="{6DC81F34-7EA9-C84D-D7BC-2F5514AC4CE4}"/>
          </ac:spMkLst>
        </pc:spChg>
      </pc:sldChg>
      <pc:sldChg chg="modSp mod">
        <pc:chgData name="Graf Thomas, INI-NET-VNC-HCS" userId="487bc3e3-9ce7-4cdd-b7b4-8899ea88d289" providerId="ADAL" clId="{D5F81756-EA00-4B65-9234-A0FB2F3D032D}" dt="2024-07-13T16:11:15.469" v="599" actId="20577"/>
        <pc:sldMkLst>
          <pc:docMk/>
          <pc:sldMk cId="3578665336" sldId="1041"/>
        </pc:sldMkLst>
        <pc:spChg chg="mod">
          <ac:chgData name="Graf Thomas, INI-NET-VNC-HCS" userId="487bc3e3-9ce7-4cdd-b7b4-8899ea88d289" providerId="ADAL" clId="{D5F81756-EA00-4B65-9234-A0FB2F3D032D}" dt="2024-07-13T16:11:15.469" v="599" actId="20577"/>
          <ac:spMkLst>
            <pc:docMk/>
            <pc:sldMk cId="3578665336" sldId="1041"/>
            <ac:spMk id="6" creationId="{6CAA0765-1318-4A03-8F91-D3ECC43D8FA7}"/>
          </ac:spMkLst>
        </pc:spChg>
      </pc:sldChg>
      <pc:sldChg chg="modSp mod">
        <pc:chgData name="Graf Thomas, INI-NET-VNC-HCS" userId="487bc3e3-9ce7-4cdd-b7b4-8899ea88d289" providerId="ADAL" clId="{D5F81756-EA00-4B65-9234-A0FB2F3D032D}" dt="2024-07-13T16:07:59.264" v="587" actId="20577"/>
        <pc:sldMkLst>
          <pc:docMk/>
          <pc:sldMk cId="2617504443" sldId="2145706242"/>
        </pc:sldMkLst>
        <pc:spChg chg="mod">
          <ac:chgData name="Graf Thomas, INI-NET-VNC-HCS" userId="487bc3e3-9ce7-4cdd-b7b4-8899ea88d289" providerId="ADAL" clId="{D5F81756-EA00-4B65-9234-A0FB2F3D032D}" dt="2024-07-13T16:07:59.264" v="587" actId="20577"/>
          <ac:spMkLst>
            <pc:docMk/>
            <pc:sldMk cId="2617504443" sldId="2145706242"/>
            <ac:spMk id="3" creationId="{29C0DFD4-432D-4B0C-93DF-790441DCF5B9}"/>
          </ac:spMkLst>
        </pc:spChg>
      </pc:sldChg>
      <pc:sldChg chg="modSp del mod">
        <pc:chgData name="Graf Thomas, INI-NET-VNC-HCS" userId="487bc3e3-9ce7-4cdd-b7b4-8899ea88d289" providerId="ADAL" clId="{D5F81756-EA00-4B65-9234-A0FB2F3D032D}" dt="2024-07-13T15:49:07.497" v="91" actId="47"/>
        <pc:sldMkLst>
          <pc:docMk/>
          <pc:sldMk cId="2058983617" sldId="2145706281"/>
        </pc:sldMkLst>
        <pc:spChg chg="mod">
          <ac:chgData name="Graf Thomas, INI-NET-VNC-HCS" userId="487bc3e3-9ce7-4cdd-b7b4-8899ea88d289" providerId="ADAL" clId="{D5F81756-EA00-4B65-9234-A0FB2F3D032D}" dt="2024-07-13T15:41:19.683" v="45" actId="6549"/>
          <ac:spMkLst>
            <pc:docMk/>
            <pc:sldMk cId="2058983617" sldId="2145706281"/>
            <ac:spMk id="25" creationId="{6DC81F34-7EA9-C84D-D7BC-2F5514AC4CE4}"/>
          </ac:spMkLst>
        </pc:spChg>
      </pc:sldChg>
      <pc:sldChg chg="addSp delSp modSp add mod ord">
        <pc:chgData name="Graf Thomas, INI-NET-VNC-HCS" userId="487bc3e3-9ce7-4cdd-b7b4-8899ea88d289" providerId="ADAL" clId="{D5F81756-EA00-4B65-9234-A0FB2F3D032D}" dt="2024-07-13T16:18:17.736" v="601" actId="20577"/>
        <pc:sldMkLst>
          <pc:docMk/>
          <pc:sldMk cId="492372888" sldId="2145706282"/>
        </pc:sldMkLst>
        <pc:spChg chg="add del mod">
          <ac:chgData name="Graf Thomas, INI-NET-VNC-HCS" userId="487bc3e3-9ce7-4cdd-b7b4-8899ea88d289" providerId="ADAL" clId="{D5F81756-EA00-4B65-9234-A0FB2F3D032D}" dt="2024-07-13T15:42:40.903" v="64" actId="478"/>
          <ac:spMkLst>
            <pc:docMk/>
            <pc:sldMk cId="492372888" sldId="2145706282"/>
            <ac:spMk id="3" creationId="{D099B97B-EFDF-7A8B-15ED-4422F65B415B}"/>
          </ac:spMkLst>
        </pc:spChg>
        <pc:spChg chg="add del mod">
          <ac:chgData name="Graf Thomas, INI-NET-VNC-HCS" userId="487bc3e3-9ce7-4cdd-b7b4-8899ea88d289" providerId="ADAL" clId="{D5F81756-EA00-4B65-9234-A0FB2F3D032D}" dt="2024-07-13T15:42:51.299" v="66"/>
          <ac:spMkLst>
            <pc:docMk/>
            <pc:sldMk cId="492372888" sldId="2145706282"/>
            <ac:spMk id="4" creationId="{8748F633-411F-6C4B-5820-5D1591D0E5E7}"/>
          </ac:spMkLst>
        </pc:spChg>
        <pc:spChg chg="add del mod">
          <ac:chgData name="Graf Thomas, INI-NET-VNC-HCS" userId="487bc3e3-9ce7-4cdd-b7b4-8899ea88d289" providerId="ADAL" clId="{D5F81756-EA00-4B65-9234-A0FB2F3D032D}" dt="2024-07-13T15:42:51.299" v="66"/>
          <ac:spMkLst>
            <pc:docMk/>
            <pc:sldMk cId="492372888" sldId="2145706282"/>
            <ac:spMk id="8" creationId="{E6A51280-FDCD-6D74-B080-283B20F77985}"/>
          </ac:spMkLst>
        </pc:spChg>
        <pc:spChg chg="add del mod">
          <ac:chgData name="Graf Thomas, INI-NET-VNC-HCS" userId="487bc3e3-9ce7-4cdd-b7b4-8899ea88d289" providerId="ADAL" clId="{D5F81756-EA00-4B65-9234-A0FB2F3D032D}" dt="2024-07-13T15:42:51.299" v="66"/>
          <ac:spMkLst>
            <pc:docMk/>
            <pc:sldMk cId="492372888" sldId="2145706282"/>
            <ac:spMk id="9" creationId="{868ED622-EB69-8FA0-3C05-15EF02533CA1}"/>
          </ac:spMkLst>
        </pc:spChg>
        <pc:spChg chg="add del mod">
          <ac:chgData name="Graf Thomas, INI-NET-VNC-HCS" userId="487bc3e3-9ce7-4cdd-b7b4-8899ea88d289" providerId="ADAL" clId="{D5F81756-EA00-4B65-9234-A0FB2F3D032D}" dt="2024-07-13T15:42:51.299" v="66"/>
          <ac:spMkLst>
            <pc:docMk/>
            <pc:sldMk cId="492372888" sldId="2145706282"/>
            <ac:spMk id="10" creationId="{8FC984B8-604A-0AC4-59A3-B1AFAFCC1867}"/>
          </ac:spMkLst>
        </pc:spChg>
        <pc:spChg chg="add del mod">
          <ac:chgData name="Graf Thomas, INI-NET-VNC-HCS" userId="487bc3e3-9ce7-4cdd-b7b4-8899ea88d289" providerId="ADAL" clId="{D5F81756-EA00-4B65-9234-A0FB2F3D032D}" dt="2024-07-13T15:42:51.299" v="66"/>
          <ac:spMkLst>
            <pc:docMk/>
            <pc:sldMk cId="492372888" sldId="2145706282"/>
            <ac:spMk id="12" creationId="{11A74DC7-D2F9-8B53-D072-B3DC5954EA5F}"/>
          </ac:spMkLst>
        </pc:spChg>
        <pc:spChg chg="add del mod">
          <ac:chgData name="Graf Thomas, INI-NET-VNC-HCS" userId="487bc3e3-9ce7-4cdd-b7b4-8899ea88d289" providerId="ADAL" clId="{D5F81756-EA00-4B65-9234-A0FB2F3D032D}" dt="2024-07-13T15:42:51.299" v="66"/>
          <ac:spMkLst>
            <pc:docMk/>
            <pc:sldMk cId="492372888" sldId="2145706282"/>
            <ac:spMk id="13" creationId="{8D3181D0-0454-74AD-4A03-6F2B89E06545}"/>
          </ac:spMkLst>
        </pc:spChg>
        <pc:spChg chg="add mod">
          <ac:chgData name="Graf Thomas, INI-NET-VNC-HCS" userId="487bc3e3-9ce7-4cdd-b7b4-8899ea88d289" providerId="ADAL" clId="{D5F81756-EA00-4B65-9234-A0FB2F3D032D}" dt="2024-07-13T15:43:15.123" v="68" actId="2711"/>
          <ac:spMkLst>
            <pc:docMk/>
            <pc:sldMk cId="492372888" sldId="2145706282"/>
            <ac:spMk id="14" creationId="{46649985-4213-9CB3-CD81-79D4DB248DAF}"/>
          </ac:spMkLst>
        </pc:spChg>
        <pc:spChg chg="add mod">
          <ac:chgData name="Graf Thomas, INI-NET-VNC-HCS" userId="487bc3e3-9ce7-4cdd-b7b4-8899ea88d289" providerId="ADAL" clId="{D5F81756-EA00-4B65-9234-A0FB2F3D032D}" dt="2024-07-13T15:43:15.123" v="68" actId="2711"/>
          <ac:spMkLst>
            <pc:docMk/>
            <pc:sldMk cId="492372888" sldId="2145706282"/>
            <ac:spMk id="18" creationId="{076CE855-379A-5BE7-9E3E-05D784B2CF9D}"/>
          </ac:spMkLst>
        </pc:spChg>
        <pc:spChg chg="add mod">
          <ac:chgData name="Graf Thomas, INI-NET-VNC-HCS" userId="487bc3e3-9ce7-4cdd-b7b4-8899ea88d289" providerId="ADAL" clId="{D5F81756-EA00-4B65-9234-A0FB2F3D032D}" dt="2024-07-13T15:43:15.123" v="68" actId="2711"/>
          <ac:spMkLst>
            <pc:docMk/>
            <pc:sldMk cId="492372888" sldId="2145706282"/>
            <ac:spMk id="20" creationId="{6DEE297B-FA92-D4CB-4DB8-B62139988C22}"/>
          </ac:spMkLst>
        </pc:spChg>
        <pc:spChg chg="add mod">
          <ac:chgData name="Graf Thomas, INI-NET-VNC-HCS" userId="487bc3e3-9ce7-4cdd-b7b4-8899ea88d289" providerId="ADAL" clId="{D5F81756-EA00-4B65-9234-A0FB2F3D032D}" dt="2024-07-13T15:43:15.123" v="68" actId="2711"/>
          <ac:spMkLst>
            <pc:docMk/>
            <pc:sldMk cId="492372888" sldId="2145706282"/>
            <ac:spMk id="21" creationId="{85D4E516-F628-FE69-DA43-10B3210E9A28}"/>
          </ac:spMkLst>
        </pc:spChg>
        <pc:spChg chg="add mod">
          <ac:chgData name="Graf Thomas, INI-NET-VNC-HCS" userId="487bc3e3-9ce7-4cdd-b7b4-8899ea88d289" providerId="ADAL" clId="{D5F81756-EA00-4B65-9234-A0FB2F3D032D}" dt="2024-07-13T15:43:15.123" v="68" actId="2711"/>
          <ac:spMkLst>
            <pc:docMk/>
            <pc:sldMk cId="492372888" sldId="2145706282"/>
            <ac:spMk id="23" creationId="{91B0341B-389C-4CE5-4F90-6C77E3EDD7E5}"/>
          </ac:spMkLst>
        </pc:spChg>
        <pc:spChg chg="add mod">
          <ac:chgData name="Graf Thomas, INI-NET-VNC-HCS" userId="487bc3e3-9ce7-4cdd-b7b4-8899ea88d289" providerId="ADAL" clId="{D5F81756-EA00-4B65-9234-A0FB2F3D032D}" dt="2024-07-13T16:18:17.736" v="601" actId="20577"/>
          <ac:spMkLst>
            <pc:docMk/>
            <pc:sldMk cId="492372888" sldId="2145706282"/>
            <ac:spMk id="24" creationId="{F74844DB-3C3D-6251-630D-7240D0A70D82}"/>
          </ac:spMkLst>
        </pc:spChg>
        <pc:spChg chg="del">
          <ac:chgData name="Graf Thomas, INI-NET-VNC-HCS" userId="487bc3e3-9ce7-4cdd-b7b4-8899ea88d289" providerId="ADAL" clId="{D5F81756-EA00-4B65-9234-A0FB2F3D032D}" dt="2024-07-13T15:42:38.707" v="63" actId="478"/>
          <ac:spMkLst>
            <pc:docMk/>
            <pc:sldMk cId="492372888" sldId="2145706282"/>
            <ac:spMk id="226"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7"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8" creationId="{00000000-0000-0000-0000-000000000000}"/>
          </ac:spMkLst>
        </pc:spChg>
        <pc:spChg chg="mod">
          <ac:chgData name="Graf Thomas, INI-NET-VNC-HCS" userId="487bc3e3-9ce7-4cdd-b7b4-8899ea88d289" providerId="ADAL" clId="{D5F81756-EA00-4B65-9234-A0FB2F3D032D}" dt="2024-07-13T16:10:57.757" v="597" actId="20577"/>
          <ac:spMkLst>
            <pc:docMk/>
            <pc:sldMk cId="492372888" sldId="2145706282"/>
            <ac:spMk id="231"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2"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4"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5" creationId="{00000000-0000-0000-0000-000000000000}"/>
          </ac:spMkLst>
        </pc:spChg>
        <pc:graphicFrameChg chg="add mod">
          <ac:chgData name="Graf Thomas, INI-NET-VNC-HCS" userId="487bc3e3-9ce7-4cdd-b7b4-8899ea88d289" providerId="ADAL" clId="{D5F81756-EA00-4B65-9234-A0FB2F3D032D}" dt="2024-07-13T15:42:59.419" v="67"/>
          <ac:graphicFrameMkLst>
            <pc:docMk/>
            <pc:sldMk cId="492372888" sldId="2145706282"/>
            <ac:graphicFrameMk id="19" creationId="{A546FED3-E59F-243C-BAB2-70CE2751222B}"/>
          </ac:graphicFrameMkLst>
        </pc:graphicFrameChg>
        <pc:cxnChg chg="add del mod">
          <ac:chgData name="Graf Thomas, INI-NET-VNC-HCS" userId="487bc3e3-9ce7-4cdd-b7b4-8899ea88d289" providerId="ADAL" clId="{D5F81756-EA00-4B65-9234-A0FB2F3D032D}" dt="2024-07-13T15:42:51.299" v="66"/>
          <ac:cxnSpMkLst>
            <pc:docMk/>
            <pc:sldMk cId="492372888" sldId="2145706282"/>
            <ac:cxnSpMk id="5" creationId="{CFED5EEF-A24D-2EC1-E7C6-6BD6F36F592F}"/>
          </ac:cxnSpMkLst>
        </pc:cxnChg>
        <pc:cxnChg chg="add del mod">
          <ac:chgData name="Graf Thomas, INI-NET-VNC-HCS" userId="487bc3e3-9ce7-4cdd-b7b4-8899ea88d289" providerId="ADAL" clId="{D5F81756-EA00-4B65-9234-A0FB2F3D032D}" dt="2024-07-13T15:42:51.299" v="66"/>
          <ac:cxnSpMkLst>
            <pc:docMk/>
            <pc:sldMk cId="492372888" sldId="2145706282"/>
            <ac:cxnSpMk id="6" creationId="{13607882-6C1A-8940-9D55-D4E6DCE1513B}"/>
          </ac:cxnSpMkLst>
        </pc:cxnChg>
        <pc:cxnChg chg="add del mod">
          <ac:chgData name="Graf Thomas, INI-NET-VNC-HCS" userId="487bc3e3-9ce7-4cdd-b7b4-8899ea88d289" providerId="ADAL" clId="{D5F81756-EA00-4B65-9234-A0FB2F3D032D}" dt="2024-07-13T15:42:51.299" v="66"/>
          <ac:cxnSpMkLst>
            <pc:docMk/>
            <pc:sldMk cId="492372888" sldId="2145706282"/>
            <ac:cxnSpMk id="7" creationId="{2B8EBC6D-12EF-A0DA-AB94-467C7F7C5037}"/>
          </ac:cxnSpMkLst>
        </pc:cxnChg>
        <pc:cxnChg chg="add del mod">
          <ac:chgData name="Graf Thomas, INI-NET-VNC-HCS" userId="487bc3e3-9ce7-4cdd-b7b4-8899ea88d289" providerId="ADAL" clId="{D5F81756-EA00-4B65-9234-A0FB2F3D032D}" dt="2024-07-13T15:42:51.299" v="66"/>
          <ac:cxnSpMkLst>
            <pc:docMk/>
            <pc:sldMk cId="492372888" sldId="2145706282"/>
            <ac:cxnSpMk id="11" creationId="{585C6FE7-44D1-C925-9320-6E4605858B32}"/>
          </ac:cxnSpMkLst>
        </pc:cxnChg>
        <pc:cxnChg chg="add mod">
          <ac:chgData name="Graf Thomas, INI-NET-VNC-HCS" userId="487bc3e3-9ce7-4cdd-b7b4-8899ea88d289" providerId="ADAL" clId="{D5F81756-EA00-4B65-9234-A0FB2F3D032D}" dt="2024-07-13T15:42:59.419" v="67"/>
          <ac:cxnSpMkLst>
            <pc:docMk/>
            <pc:sldMk cId="492372888" sldId="2145706282"/>
            <ac:cxnSpMk id="15" creationId="{CEF6A92B-B282-4279-BF45-3D3805A69CFD}"/>
          </ac:cxnSpMkLst>
        </pc:cxnChg>
        <pc:cxnChg chg="add mod">
          <ac:chgData name="Graf Thomas, INI-NET-VNC-HCS" userId="487bc3e3-9ce7-4cdd-b7b4-8899ea88d289" providerId="ADAL" clId="{D5F81756-EA00-4B65-9234-A0FB2F3D032D}" dt="2024-07-13T15:42:59.419" v="67"/>
          <ac:cxnSpMkLst>
            <pc:docMk/>
            <pc:sldMk cId="492372888" sldId="2145706282"/>
            <ac:cxnSpMk id="16" creationId="{1DCCF47F-8DC3-9197-7101-4DE7468021A8}"/>
          </ac:cxnSpMkLst>
        </pc:cxnChg>
        <pc:cxnChg chg="add mod">
          <ac:chgData name="Graf Thomas, INI-NET-VNC-HCS" userId="487bc3e3-9ce7-4cdd-b7b4-8899ea88d289" providerId="ADAL" clId="{D5F81756-EA00-4B65-9234-A0FB2F3D032D}" dt="2024-07-13T15:42:59.419" v="67"/>
          <ac:cxnSpMkLst>
            <pc:docMk/>
            <pc:sldMk cId="492372888" sldId="2145706282"/>
            <ac:cxnSpMk id="17" creationId="{CA870199-91A5-610F-5CB6-418A1191A95D}"/>
          </ac:cxnSpMkLst>
        </pc:cxnChg>
        <pc:cxnChg chg="add mod">
          <ac:chgData name="Graf Thomas, INI-NET-VNC-HCS" userId="487bc3e3-9ce7-4cdd-b7b4-8899ea88d289" providerId="ADAL" clId="{D5F81756-EA00-4B65-9234-A0FB2F3D032D}" dt="2024-07-13T15:42:59.419" v="67"/>
          <ac:cxnSpMkLst>
            <pc:docMk/>
            <pc:sldMk cId="492372888" sldId="2145706282"/>
            <ac:cxnSpMk id="22" creationId="{FBEAF735-DF81-0A3B-9CB7-88B14D0CC205}"/>
          </ac:cxnSpMkLst>
        </pc:cxnChg>
        <pc:cxnChg chg="del mod">
          <ac:chgData name="Graf Thomas, INI-NET-VNC-HCS" userId="487bc3e3-9ce7-4cdd-b7b4-8899ea88d289" providerId="ADAL" clId="{D5F81756-EA00-4B65-9234-A0FB2F3D032D}" dt="2024-07-13T15:42:38.707" v="63" actId="478"/>
          <ac:cxnSpMkLst>
            <pc:docMk/>
            <pc:sldMk cId="492372888" sldId="2145706282"/>
            <ac:cxnSpMk id="229"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3"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6"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7" creationId="{00000000-0000-0000-0000-000000000000}"/>
          </ac:cxnSpMkLst>
        </pc:cxnChg>
      </pc:sldChg>
      <pc:sldChg chg="addSp delSp modSp add mod">
        <pc:chgData name="Graf Thomas, INI-NET-VNC-HCS" userId="487bc3e3-9ce7-4cdd-b7b4-8899ea88d289" providerId="ADAL" clId="{D5F81756-EA00-4B65-9234-A0FB2F3D032D}" dt="2024-07-13T15:58:35.681" v="276" actId="20577"/>
        <pc:sldMkLst>
          <pc:docMk/>
          <pc:sldMk cId="1108719720" sldId="2145706283"/>
        </pc:sldMkLst>
        <pc:spChg chg="add del mod">
          <ac:chgData name="Graf Thomas, INI-NET-VNC-HCS" userId="487bc3e3-9ce7-4cdd-b7b4-8899ea88d289" providerId="ADAL" clId="{D5F81756-EA00-4B65-9234-A0FB2F3D032D}" dt="2024-07-13T15:47:23.241" v="81"/>
          <ac:spMkLst>
            <pc:docMk/>
            <pc:sldMk cId="1108719720" sldId="2145706283"/>
            <ac:spMk id="3" creationId="{0100B90D-F460-5A0A-24D1-D29B6E2D0FB2}"/>
          </ac:spMkLst>
        </pc:spChg>
        <pc:spChg chg="add del mod">
          <ac:chgData name="Graf Thomas, INI-NET-VNC-HCS" userId="487bc3e3-9ce7-4cdd-b7b4-8899ea88d289" providerId="ADAL" clId="{D5F81756-EA00-4B65-9234-A0FB2F3D032D}" dt="2024-07-13T15:47:23.241" v="81"/>
          <ac:spMkLst>
            <pc:docMk/>
            <pc:sldMk cId="1108719720" sldId="2145706283"/>
            <ac:spMk id="7" creationId="{339B05DA-E142-B0D1-30FA-2B0A78AE648F}"/>
          </ac:spMkLst>
        </pc:spChg>
        <pc:spChg chg="add del mod">
          <ac:chgData name="Graf Thomas, INI-NET-VNC-HCS" userId="487bc3e3-9ce7-4cdd-b7b4-8899ea88d289" providerId="ADAL" clId="{D5F81756-EA00-4B65-9234-A0FB2F3D032D}" dt="2024-07-13T15:47:23.241" v="81"/>
          <ac:spMkLst>
            <pc:docMk/>
            <pc:sldMk cId="1108719720" sldId="2145706283"/>
            <ac:spMk id="8" creationId="{3C4DD14F-D5F7-106A-E69C-446BB91F75DD}"/>
          </ac:spMkLst>
        </pc:spChg>
        <pc:spChg chg="add del mod">
          <ac:chgData name="Graf Thomas, INI-NET-VNC-HCS" userId="487bc3e3-9ce7-4cdd-b7b4-8899ea88d289" providerId="ADAL" clId="{D5F81756-EA00-4B65-9234-A0FB2F3D032D}" dt="2024-07-13T15:47:23.241" v="81"/>
          <ac:spMkLst>
            <pc:docMk/>
            <pc:sldMk cId="1108719720" sldId="2145706283"/>
            <ac:spMk id="9" creationId="{E08498DF-5D5E-9733-E373-63463ABC80E0}"/>
          </ac:spMkLst>
        </pc:spChg>
        <pc:spChg chg="add del mod">
          <ac:chgData name="Graf Thomas, INI-NET-VNC-HCS" userId="487bc3e3-9ce7-4cdd-b7b4-8899ea88d289" providerId="ADAL" clId="{D5F81756-EA00-4B65-9234-A0FB2F3D032D}" dt="2024-07-13T15:47:23.241" v="81"/>
          <ac:spMkLst>
            <pc:docMk/>
            <pc:sldMk cId="1108719720" sldId="2145706283"/>
            <ac:spMk id="10" creationId="{FCE5642A-0F6A-9531-73FF-ED1885B60AAB}"/>
          </ac:spMkLst>
        </pc:spChg>
        <pc:spChg chg="add mod">
          <ac:chgData name="Graf Thomas, INI-NET-VNC-HCS" userId="487bc3e3-9ce7-4cdd-b7b4-8899ea88d289" providerId="ADAL" clId="{D5F81756-EA00-4B65-9234-A0FB2F3D032D}" dt="2024-07-13T15:56:12.819" v="230" actId="255"/>
          <ac:spMkLst>
            <pc:docMk/>
            <pc:sldMk cId="1108719720" sldId="2145706283"/>
            <ac:spMk id="12" creationId="{AD9C517B-83D2-54B1-E453-87AB53D758AC}"/>
          </ac:spMkLst>
        </pc:spChg>
        <pc:spChg chg="del">
          <ac:chgData name="Graf Thomas, INI-NET-VNC-HCS" userId="487bc3e3-9ce7-4cdd-b7b4-8899ea88d289" providerId="ADAL" clId="{D5F81756-EA00-4B65-9234-A0FB2F3D032D}" dt="2024-07-13T15:47:13.984" v="78" actId="478"/>
          <ac:spMkLst>
            <pc:docMk/>
            <pc:sldMk cId="1108719720" sldId="2145706283"/>
            <ac:spMk id="14" creationId="{46649985-4213-9CB3-CD81-79D4DB248DAF}"/>
          </ac:spMkLst>
        </pc:spChg>
        <pc:spChg chg="del">
          <ac:chgData name="Graf Thomas, INI-NET-VNC-HCS" userId="487bc3e3-9ce7-4cdd-b7b4-8899ea88d289" providerId="ADAL" clId="{D5F81756-EA00-4B65-9234-A0FB2F3D032D}" dt="2024-07-13T15:47:13.984" v="78" actId="478"/>
          <ac:spMkLst>
            <pc:docMk/>
            <pc:sldMk cId="1108719720" sldId="2145706283"/>
            <ac:spMk id="18" creationId="{076CE855-379A-5BE7-9E3E-05D784B2CF9D}"/>
          </ac:spMkLst>
        </pc:spChg>
        <pc:spChg chg="del">
          <ac:chgData name="Graf Thomas, INI-NET-VNC-HCS" userId="487bc3e3-9ce7-4cdd-b7b4-8899ea88d289" providerId="ADAL" clId="{D5F81756-EA00-4B65-9234-A0FB2F3D032D}" dt="2024-07-13T15:47:13.984" v="78" actId="478"/>
          <ac:spMkLst>
            <pc:docMk/>
            <pc:sldMk cId="1108719720" sldId="2145706283"/>
            <ac:spMk id="20" creationId="{6DEE297B-FA92-D4CB-4DB8-B62139988C22}"/>
          </ac:spMkLst>
        </pc:spChg>
        <pc:spChg chg="del">
          <ac:chgData name="Graf Thomas, INI-NET-VNC-HCS" userId="487bc3e3-9ce7-4cdd-b7b4-8899ea88d289" providerId="ADAL" clId="{D5F81756-EA00-4B65-9234-A0FB2F3D032D}" dt="2024-07-13T15:47:13.984" v="78" actId="478"/>
          <ac:spMkLst>
            <pc:docMk/>
            <pc:sldMk cId="1108719720" sldId="2145706283"/>
            <ac:spMk id="21" creationId="{85D4E516-F628-FE69-DA43-10B3210E9A28}"/>
          </ac:spMkLst>
        </pc:spChg>
        <pc:spChg chg="del">
          <ac:chgData name="Graf Thomas, INI-NET-VNC-HCS" userId="487bc3e3-9ce7-4cdd-b7b4-8899ea88d289" providerId="ADAL" clId="{D5F81756-EA00-4B65-9234-A0FB2F3D032D}" dt="2024-07-13T15:47:13.984" v="78" actId="478"/>
          <ac:spMkLst>
            <pc:docMk/>
            <pc:sldMk cId="1108719720" sldId="2145706283"/>
            <ac:spMk id="23" creationId="{91B0341B-389C-4CE5-4F90-6C77E3EDD7E5}"/>
          </ac:spMkLst>
        </pc:spChg>
        <pc:spChg chg="mod">
          <ac:chgData name="Graf Thomas, INI-NET-VNC-HCS" userId="487bc3e3-9ce7-4cdd-b7b4-8899ea88d289" providerId="ADAL" clId="{D5F81756-EA00-4B65-9234-A0FB2F3D032D}" dt="2024-07-13T15:58:35.681" v="276" actId="20577"/>
          <ac:spMkLst>
            <pc:docMk/>
            <pc:sldMk cId="1108719720" sldId="2145706283"/>
            <ac:spMk id="24" creationId="{F74844DB-3C3D-6251-630D-7240D0A70D82}"/>
          </ac:spMkLst>
        </pc:spChg>
        <pc:spChg chg="add mod">
          <ac:chgData name="Graf Thomas, INI-NET-VNC-HCS" userId="487bc3e3-9ce7-4cdd-b7b4-8899ea88d289" providerId="ADAL" clId="{D5F81756-EA00-4B65-9234-A0FB2F3D032D}" dt="2024-07-13T15:56:12.819" v="230" actId="255"/>
          <ac:spMkLst>
            <pc:docMk/>
            <pc:sldMk cId="1108719720" sldId="2145706283"/>
            <ac:spMk id="27" creationId="{A0A23C6E-629E-964B-D209-55C41415F495}"/>
          </ac:spMkLst>
        </pc:spChg>
        <pc:spChg chg="add mod">
          <ac:chgData name="Graf Thomas, INI-NET-VNC-HCS" userId="487bc3e3-9ce7-4cdd-b7b4-8899ea88d289" providerId="ADAL" clId="{D5F81756-EA00-4B65-9234-A0FB2F3D032D}" dt="2024-07-13T15:56:12.819" v="230" actId="255"/>
          <ac:spMkLst>
            <pc:docMk/>
            <pc:sldMk cId="1108719720" sldId="2145706283"/>
            <ac:spMk id="29" creationId="{809AFD71-3FC6-697F-22C0-8EC176FB8038}"/>
          </ac:spMkLst>
        </pc:spChg>
        <pc:spChg chg="add mod">
          <ac:chgData name="Graf Thomas, INI-NET-VNC-HCS" userId="487bc3e3-9ce7-4cdd-b7b4-8899ea88d289" providerId="ADAL" clId="{D5F81756-EA00-4B65-9234-A0FB2F3D032D}" dt="2024-07-13T15:56:12.819" v="230" actId="255"/>
          <ac:spMkLst>
            <pc:docMk/>
            <pc:sldMk cId="1108719720" sldId="2145706283"/>
            <ac:spMk id="30" creationId="{004890FF-C65E-F04C-7769-5B2592C0DF5A}"/>
          </ac:spMkLst>
        </pc:spChg>
        <pc:spChg chg="add mod">
          <ac:chgData name="Graf Thomas, INI-NET-VNC-HCS" userId="487bc3e3-9ce7-4cdd-b7b4-8899ea88d289" providerId="ADAL" clId="{D5F81756-EA00-4B65-9234-A0FB2F3D032D}" dt="2024-07-13T15:56:12.819" v="230" actId="255"/>
          <ac:spMkLst>
            <pc:docMk/>
            <pc:sldMk cId="1108719720" sldId="2145706283"/>
            <ac:spMk id="31" creationId="{6A6F152D-314F-BC9C-874B-092EFB581BAC}"/>
          </ac:spMkLst>
        </pc:spChg>
        <pc:spChg chg="mod">
          <ac:chgData name="Graf Thomas, INI-NET-VNC-HCS" userId="487bc3e3-9ce7-4cdd-b7b4-8899ea88d289" providerId="ADAL" clId="{D5F81756-EA00-4B65-9234-A0FB2F3D032D}" dt="2024-07-13T15:55:50.133" v="228" actId="20577"/>
          <ac:spMkLst>
            <pc:docMk/>
            <pc:sldMk cId="1108719720" sldId="2145706283"/>
            <ac:spMk id="231" creationId="{00000000-0000-0000-0000-000000000000}"/>
          </ac:spMkLst>
        </pc:spChg>
        <pc:graphicFrameChg chg="del">
          <ac:chgData name="Graf Thomas, INI-NET-VNC-HCS" userId="487bc3e3-9ce7-4cdd-b7b4-8899ea88d289" providerId="ADAL" clId="{D5F81756-EA00-4B65-9234-A0FB2F3D032D}" dt="2024-07-13T15:47:18.845" v="79" actId="478"/>
          <ac:graphicFrameMkLst>
            <pc:docMk/>
            <pc:sldMk cId="1108719720" sldId="2145706283"/>
            <ac:graphicFrameMk id="19" creationId="{A546FED3-E59F-243C-BAB2-70CE2751222B}"/>
          </ac:graphicFrameMkLst>
        </pc:graphicFrameChg>
        <pc:graphicFrameChg chg="add mod">
          <ac:chgData name="Graf Thomas, INI-NET-VNC-HCS" userId="487bc3e3-9ce7-4cdd-b7b4-8899ea88d289" providerId="ADAL" clId="{D5F81756-EA00-4B65-9234-A0FB2F3D032D}" dt="2024-07-13T15:47:32.435" v="82"/>
          <ac:graphicFrameMkLst>
            <pc:docMk/>
            <pc:sldMk cId="1108719720" sldId="2145706283"/>
            <ac:graphicFrameMk id="28" creationId="{E462DE10-6669-9C49-0CAA-BEE5932E0368}"/>
          </ac:graphicFrameMkLst>
        </pc:graphicFrameChg>
        <pc:cxnChg chg="add del mod">
          <ac:chgData name="Graf Thomas, INI-NET-VNC-HCS" userId="487bc3e3-9ce7-4cdd-b7b4-8899ea88d289" providerId="ADAL" clId="{D5F81756-EA00-4B65-9234-A0FB2F3D032D}" dt="2024-07-13T15:47:23.241" v="81"/>
          <ac:cxnSpMkLst>
            <pc:docMk/>
            <pc:sldMk cId="1108719720" sldId="2145706283"/>
            <ac:cxnSpMk id="2" creationId="{91BF4AF3-83FF-48F0-5F61-F2C3AF6C8B90}"/>
          </ac:cxnSpMkLst>
        </pc:cxnChg>
        <pc:cxnChg chg="add del mod">
          <ac:chgData name="Graf Thomas, INI-NET-VNC-HCS" userId="487bc3e3-9ce7-4cdd-b7b4-8899ea88d289" providerId="ADAL" clId="{D5F81756-EA00-4B65-9234-A0FB2F3D032D}" dt="2024-07-13T15:47:23.241" v="81"/>
          <ac:cxnSpMkLst>
            <pc:docMk/>
            <pc:sldMk cId="1108719720" sldId="2145706283"/>
            <ac:cxnSpMk id="4" creationId="{DB7C81B7-5B7A-C5E8-0CC4-59BEC3F63339}"/>
          </ac:cxnSpMkLst>
        </pc:cxnChg>
        <pc:cxnChg chg="add del mod">
          <ac:chgData name="Graf Thomas, INI-NET-VNC-HCS" userId="487bc3e3-9ce7-4cdd-b7b4-8899ea88d289" providerId="ADAL" clId="{D5F81756-EA00-4B65-9234-A0FB2F3D032D}" dt="2024-07-13T15:47:23.241" v="81"/>
          <ac:cxnSpMkLst>
            <pc:docMk/>
            <pc:sldMk cId="1108719720" sldId="2145706283"/>
            <ac:cxnSpMk id="5" creationId="{34C9EB8B-6A2D-BCAC-E7D4-33FDD74CAAE4}"/>
          </ac:cxnSpMkLst>
        </pc:cxnChg>
        <pc:cxnChg chg="add del mod">
          <ac:chgData name="Graf Thomas, INI-NET-VNC-HCS" userId="487bc3e3-9ce7-4cdd-b7b4-8899ea88d289" providerId="ADAL" clId="{D5F81756-EA00-4B65-9234-A0FB2F3D032D}" dt="2024-07-13T15:47:23.241" v="81"/>
          <ac:cxnSpMkLst>
            <pc:docMk/>
            <pc:sldMk cId="1108719720" sldId="2145706283"/>
            <ac:cxnSpMk id="6" creationId="{6713B1AC-ED37-5018-7B79-0B935CE84417}"/>
          </ac:cxnSpMkLst>
        </pc:cxnChg>
        <pc:cxnChg chg="add mod">
          <ac:chgData name="Graf Thomas, INI-NET-VNC-HCS" userId="487bc3e3-9ce7-4cdd-b7b4-8899ea88d289" providerId="ADAL" clId="{D5F81756-EA00-4B65-9234-A0FB2F3D032D}" dt="2024-07-13T15:47:32.435" v="82"/>
          <ac:cxnSpMkLst>
            <pc:docMk/>
            <pc:sldMk cId="1108719720" sldId="2145706283"/>
            <ac:cxnSpMk id="11" creationId="{062C5BA3-5F91-9A56-0FB2-A157ECDE4645}"/>
          </ac:cxnSpMkLst>
        </pc:cxnChg>
        <pc:cxnChg chg="add mod">
          <ac:chgData name="Graf Thomas, INI-NET-VNC-HCS" userId="487bc3e3-9ce7-4cdd-b7b4-8899ea88d289" providerId="ADAL" clId="{D5F81756-EA00-4B65-9234-A0FB2F3D032D}" dt="2024-07-13T15:47:32.435" v="82"/>
          <ac:cxnSpMkLst>
            <pc:docMk/>
            <pc:sldMk cId="1108719720" sldId="2145706283"/>
            <ac:cxnSpMk id="13" creationId="{CEF329FF-9858-805F-3FE2-E6ED779C859D}"/>
          </ac:cxnSpMkLst>
        </pc:cxnChg>
        <pc:cxnChg chg="del">
          <ac:chgData name="Graf Thomas, INI-NET-VNC-HCS" userId="487bc3e3-9ce7-4cdd-b7b4-8899ea88d289" providerId="ADAL" clId="{D5F81756-EA00-4B65-9234-A0FB2F3D032D}" dt="2024-07-13T15:47:13.984" v="78" actId="478"/>
          <ac:cxnSpMkLst>
            <pc:docMk/>
            <pc:sldMk cId="1108719720" sldId="2145706283"/>
            <ac:cxnSpMk id="15" creationId="{CEF6A92B-B282-4279-BF45-3D3805A69CFD}"/>
          </ac:cxnSpMkLst>
        </pc:cxnChg>
        <pc:cxnChg chg="del">
          <ac:chgData name="Graf Thomas, INI-NET-VNC-HCS" userId="487bc3e3-9ce7-4cdd-b7b4-8899ea88d289" providerId="ADAL" clId="{D5F81756-EA00-4B65-9234-A0FB2F3D032D}" dt="2024-07-13T15:47:13.984" v="78" actId="478"/>
          <ac:cxnSpMkLst>
            <pc:docMk/>
            <pc:sldMk cId="1108719720" sldId="2145706283"/>
            <ac:cxnSpMk id="16" creationId="{1DCCF47F-8DC3-9197-7101-4DE7468021A8}"/>
          </ac:cxnSpMkLst>
        </pc:cxnChg>
        <pc:cxnChg chg="del">
          <ac:chgData name="Graf Thomas, INI-NET-VNC-HCS" userId="487bc3e3-9ce7-4cdd-b7b4-8899ea88d289" providerId="ADAL" clId="{D5F81756-EA00-4B65-9234-A0FB2F3D032D}" dt="2024-07-13T15:47:13.984" v="78" actId="478"/>
          <ac:cxnSpMkLst>
            <pc:docMk/>
            <pc:sldMk cId="1108719720" sldId="2145706283"/>
            <ac:cxnSpMk id="17" creationId="{CA870199-91A5-610F-5CB6-418A1191A95D}"/>
          </ac:cxnSpMkLst>
        </pc:cxnChg>
        <pc:cxnChg chg="del">
          <ac:chgData name="Graf Thomas, INI-NET-VNC-HCS" userId="487bc3e3-9ce7-4cdd-b7b4-8899ea88d289" providerId="ADAL" clId="{D5F81756-EA00-4B65-9234-A0FB2F3D032D}" dt="2024-07-13T15:47:13.984" v="78" actId="478"/>
          <ac:cxnSpMkLst>
            <pc:docMk/>
            <pc:sldMk cId="1108719720" sldId="2145706283"/>
            <ac:cxnSpMk id="22" creationId="{FBEAF735-DF81-0A3B-9CB7-88B14D0CC205}"/>
          </ac:cxnSpMkLst>
        </pc:cxnChg>
        <pc:cxnChg chg="add mod">
          <ac:chgData name="Graf Thomas, INI-NET-VNC-HCS" userId="487bc3e3-9ce7-4cdd-b7b4-8899ea88d289" providerId="ADAL" clId="{D5F81756-EA00-4B65-9234-A0FB2F3D032D}" dt="2024-07-13T15:47:32.435" v="82"/>
          <ac:cxnSpMkLst>
            <pc:docMk/>
            <pc:sldMk cId="1108719720" sldId="2145706283"/>
            <ac:cxnSpMk id="25" creationId="{AF5E5FD4-37C3-D6F8-F40D-7E093B667EC3}"/>
          </ac:cxnSpMkLst>
        </pc:cxnChg>
        <pc:cxnChg chg="add mod">
          <ac:chgData name="Graf Thomas, INI-NET-VNC-HCS" userId="487bc3e3-9ce7-4cdd-b7b4-8899ea88d289" providerId="ADAL" clId="{D5F81756-EA00-4B65-9234-A0FB2F3D032D}" dt="2024-07-13T15:47:32.435" v="82"/>
          <ac:cxnSpMkLst>
            <pc:docMk/>
            <pc:sldMk cId="1108719720" sldId="2145706283"/>
            <ac:cxnSpMk id="26" creationId="{FC2ED9A3-59E2-4C02-0C42-7DF18209075A}"/>
          </ac:cxnSpMkLst>
        </pc:cxnChg>
      </pc:sldChg>
      <pc:sldMasterChg chg="del delSldLayout">
        <pc:chgData name="Graf Thomas, INI-NET-VNC-HCS" userId="487bc3e3-9ce7-4cdd-b7b4-8899ea88d289" providerId="ADAL" clId="{D5F81756-EA00-4B65-9234-A0FB2F3D032D}" dt="2024-07-13T15:49:07.497" v="91" actId="47"/>
        <pc:sldMasterMkLst>
          <pc:docMk/>
          <pc:sldMasterMk cId="199130848" sldId="2147483661"/>
        </pc:sldMasterMkLst>
        <pc:sldLayoutChg chg="del">
          <pc:chgData name="Graf Thomas, INI-NET-VNC-HCS" userId="487bc3e3-9ce7-4cdd-b7b4-8899ea88d289" providerId="ADAL" clId="{D5F81756-EA00-4B65-9234-A0FB2F3D032D}" dt="2024-07-13T15:49:07.497" v="91" actId="47"/>
          <pc:sldLayoutMkLst>
            <pc:docMk/>
            <pc:sldMasterMk cId="199130848" sldId="2147483661"/>
            <pc:sldLayoutMk cId="1681043081" sldId="214748366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77211289" sldId="214748366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3128613" sldId="214748366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63072395" sldId="214748366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090302247" sldId="214748366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9885364" sldId="214748366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49008765" sldId="214748366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646644082" sldId="214748366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784012227" sldId="214748367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016650525" sldId="2147483671"/>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538429098" sldId="214748367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582256069" sldId="214748367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29671145" sldId="214748367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21018312" sldId="214748367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076956421" sldId="214748367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408353582" sldId="214748367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406652537" sldId="214748367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120502027" sldId="214748367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896036100" sldId="214748368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84139602" sldId="2147483681"/>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00B050"/>
              </a:solidFill>
              <a:ln w="28575">
                <a:solidFill>
                  <a:schemeClr val="bg1"/>
                </a:solidFill>
              </a:ln>
            </c:spPr>
            <c:extLst>
              <c:ext xmlns:c16="http://schemas.microsoft.com/office/drawing/2014/chart" uri="{C3380CC4-5D6E-409C-BE32-E72D297353CC}">
                <c16:uniqueId val="{00000001-7078-4526-9CAC-793690511593}"/>
              </c:ext>
            </c:extLst>
          </c:dPt>
          <c:dPt>
            <c:idx val="1"/>
            <c:bubble3D val="0"/>
            <c:spPr>
              <a:solidFill>
                <a:srgbClr val="FF0000"/>
              </a:solidFill>
              <a:ln w="28575">
                <a:solidFill>
                  <a:schemeClr val="bg1"/>
                </a:solidFill>
              </a:ln>
            </c:spPr>
            <c:extLst>
              <c:ext xmlns:c16="http://schemas.microsoft.com/office/drawing/2014/chart" uri="{C3380CC4-5D6E-409C-BE32-E72D297353CC}">
                <c16:uniqueId val="{00000003-7078-4526-9CAC-793690511593}"/>
              </c:ext>
            </c:extLst>
          </c:dPt>
          <c:dPt>
            <c:idx val="2"/>
            <c:bubble3D val="0"/>
            <c:spPr>
              <a:solidFill>
                <a:srgbClr val="FFC000"/>
              </a:solidFill>
              <a:ln w="28575">
                <a:solidFill>
                  <a:schemeClr val="bg1"/>
                </a:solidFill>
              </a:ln>
            </c:spPr>
            <c:extLst>
              <c:ext xmlns:c16="http://schemas.microsoft.com/office/drawing/2014/chart" uri="{C3380CC4-5D6E-409C-BE32-E72D297353CC}">
                <c16:uniqueId val="{00000005-7078-4526-9CAC-793690511593}"/>
              </c:ext>
            </c:extLst>
          </c:dPt>
          <c:dPt>
            <c:idx val="3"/>
            <c:bubble3D val="0"/>
            <c:spPr>
              <a:solidFill>
                <a:srgbClr val="92D050"/>
              </a:solidFill>
              <a:ln w="28575">
                <a:solidFill>
                  <a:schemeClr val="bg1"/>
                </a:solidFill>
              </a:ln>
            </c:spPr>
            <c:extLst>
              <c:ext xmlns:c16="http://schemas.microsoft.com/office/drawing/2014/chart" uri="{C3380CC4-5D6E-409C-BE32-E72D297353CC}">
                <c16:uniqueId val="{00000007-7078-4526-9CAC-793690511593}"/>
              </c:ext>
            </c:extLst>
          </c:dPt>
          <c:cat>
            <c:strRef>
              <c:f>Tabelle1!$A$2:$A$5</c:f>
              <c:strCache>
                <c:ptCount val="4"/>
                <c:pt idx="0">
                  <c:v>Realtime</c:v>
                </c:pt>
                <c:pt idx="1">
                  <c:v>Replay</c:v>
                </c:pt>
                <c:pt idx="2">
                  <c:v>Falls Delay</c:v>
                </c:pt>
                <c:pt idx="3">
                  <c:v>Falls Previous</c:v>
                </c:pt>
              </c:strCache>
            </c:strRef>
          </c:cat>
          <c:val>
            <c:numRef>
              <c:f>Tabelle1!$B$2:$B$5</c:f>
              <c:numCache>
                <c:formatCode>General</c:formatCode>
                <c:ptCount val="4"/>
                <c:pt idx="0">
                  <c:v>7</c:v>
                </c:pt>
                <c:pt idx="1">
                  <c:v>3</c:v>
                </c:pt>
                <c:pt idx="2">
                  <c:v>11</c:v>
                </c:pt>
                <c:pt idx="3">
                  <c:v>3</c:v>
                </c:pt>
              </c:numCache>
            </c:numRef>
          </c:val>
          <c:extLst>
            <c:ext xmlns:c16="http://schemas.microsoft.com/office/drawing/2014/chart" uri="{C3380CC4-5D6E-409C-BE32-E72D297353CC}">
              <c16:uniqueId val="{00000008-7078-4526-9CAC-793690511593}"/>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FFFF00"/>
              </a:solidFill>
              <a:ln w="28575">
                <a:solidFill>
                  <a:schemeClr val="bg1"/>
                </a:solidFill>
              </a:ln>
            </c:spPr>
            <c:extLst>
              <c:ext xmlns:c16="http://schemas.microsoft.com/office/drawing/2014/chart" uri="{C3380CC4-5D6E-409C-BE32-E72D297353CC}">
                <c16:uniqueId val="{00000001-2861-456B-B7E3-5C063004379B}"/>
              </c:ext>
            </c:extLst>
          </c:dPt>
          <c:dPt>
            <c:idx val="1"/>
            <c:bubble3D val="0"/>
            <c:spPr>
              <a:solidFill>
                <a:srgbClr val="00B050"/>
              </a:solidFill>
              <a:ln w="28575">
                <a:solidFill>
                  <a:schemeClr val="bg1"/>
                </a:solidFill>
              </a:ln>
            </c:spPr>
            <c:extLst>
              <c:ext xmlns:c16="http://schemas.microsoft.com/office/drawing/2014/chart" uri="{C3380CC4-5D6E-409C-BE32-E72D297353CC}">
                <c16:uniqueId val="{00000003-2861-456B-B7E3-5C063004379B}"/>
              </c:ext>
            </c:extLst>
          </c:dPt>
          <c:dPt>
            <c:idx val="2"/>
            <c:bubble3D val="0"/>
            <c:spPr>
              <a:solidFill>
                <a:srgbClr val="92D050"/>
              </a:solidFill>
              <a:ln w="28575">
                <a:solidFill>
                  <a:schemeClr val="bg1"/>
                </a:solidFill>
              </a:ln>
            </c:spPr>
            <c:extLst>
              <c:ext xmlns:c16="http://schemas.microsoft.com/office/drawing/2014/chart" uri="{C3380CC4-5D6E-409C-BE32-E72D297353CC}">
                <c16:uniqueId val="{00000005-2861-456B-B7E3-5C063004379B}"/>
              </c:ext>
            </c:extLst>
          </c:dPt>
          <c:dPt>
            <c:idx val="3"/>
            <c:bubble3D val="0"/>
            <c:spPr>
              <a:solidFill>
                <a:srgbClr val="FFC000"/>
              </a:solidFill>
              <a:ln w="28575">
                <a:solidFill>
                  <a:schemeClr val="bg1"/>
                </a:solidFill>
              </a:ln>
            </c:spPr>
            <c:extLst>
              <c:ext xmlns:c16="http://schemas.microsoft.com/office/drawing/2014/chart" uri="{C3380CC4-5D6E-409C-BE32-E72D297353CC}">
                <c16:uniqueId val="{00000007-2861-456B-B7E3-5C063004379B}"/>
              </c:ext>
            </c:extLst>
          </c:dPt>
          <c:cat>
            <c:strRef>
              <c:f>Tabelle1!$A$2:$A$5</c:f>
              <c:strCache>
                <c:ptCount val="4"/>
                <c:pt idx="0">
                  <c:v>One</c:v>
                </c:pt>
                <c:pt idx="1">
                  <c:v>Two</c:v>
                </c:pt>
                <c:pt idx="2">
                  <c:v>Three</c:v>
                </c:pt>
                <c:pt idx="3">
                  <c:v>Four</c:v>
                </c:pt>
              </c:strCache>
            </c:strRef>
          </c:cat>
          <c:val>
            <c:numRef>
              <c:f>Tabelle1!$B$2:$B$5</c:f>
              <c:numCache>
                <c:formatCode>General</c:formatCode>
                <c:ptCount val="4"/>
                <c:pt idx="0">
                  <c:v>3</c:v>
                </c:pt>
                <c:pt idx="1">
                  <c:v>8</c:v>
                </c:pt>
                <c:pt idx="2">
                  <c:v>6</c:v>
                </c:pt>
                <c:pt idx="3">
                  <c:v>2</c:v>
                </c:pt>
              </c:numCache>
            </c:numRef>
          </c:val>
          <c:extLst>
            <c:ext xmlns:c16="http://schemas.microsoft.com/office/drawing/2014/chart" uri="{C3380CC4-5D6E-409C-BE32-E72D297353CC}">
              <c16:uniqueId val="{00000008-2861-456B-B7E3-5C063004379B}"/>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15.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2</a:t>
            </a:fld>
            <a:endParaRPr lang="de-CH"/>
          </a:p>
        </p:txBody>
      </p:sp>
    </p:spTree>
    <p:extLst>
      <p:ext uri="{BB962C8B-B14F-4D97-AF65-F5344CB8AC3E}">
        <p14:creationId xmlns:p14="http://schemas.microsoft.com/office/powerpoint/2010/main" val="3042553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
        <p:cNvGrpSpPr/>
        <p:nvPr/>
      </p:nvGrpSpPr>
      <p:grpSpPr>
        <a:xfrm>
          <a:off x="0" y="0"/>
          <a:ext cx="0" cy="0"/>
          <a:chOff x="0" y="0"/>
          <a:chExt cx="0" cy="0"/>
        </a:xfrm>
      </p:grpSpPr>
      <p:sp>
        <p:nvSpPr>
          <p:cNvPr id="213" name="Google Shape;2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4" name="Google Shape;2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808978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126233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142838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645737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
        <p:cNvGrpSpPr/>
        <p:nvPr/>
      </p:nvGrpSpPr>
      <p:grpSpPr>
        <a:xfrm>
          <a:off x="0" y="0"/>
          <a:ext cx="0" cy="0"/>
          <a:chOff x="0" y="0"/>
          <a:chExt cx="0" cy="0"/>
        </a:xfrm>
      </p:grpSpPr>
      <p:sp>
        <p:nvSpPr>
          <p:cNvPr id="145" name="Google Shape;145;g2eb435550a3_0_1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6" name="Google Shape;146;g2eb435550a3_0_1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
        <p:cNvGrpSpPr/>
        <p:nvPr/>
      </p:nvGrpSpPr>
      <p:grpSpPr>
        <a:xfrm>
          <a:off x="0" y="0"/>
          <a:ext cx="0" cy="0"/>
          <a:chOff x="0" y="0"/>
          <a:chExt cx="0" cy="0"/>
        </a:xfrm>
      </p:grpSpPr>
      <p:sp>
        <p:nvSpPr>
          <p:cNvPr id="156" name="Google Shape;156;g2eb435550a3_0_1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7" name="Google Shape;157;g2eb435550a3_0_1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g2eb435550a3_0_1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 name="Google Shape;176;g2eb435550a3_0_1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g2eb435550a3_0_20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3" name="Google Shape;183;g2eb435550a3_0_20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4</a:t>
            </a:fld>
            <a:endParaRPr lang="de-CH"/>
          </a:p>
        </p:txBody>
      </p:sp>
    </p:spTree>
    <p:extLst>
      <p:ext uri="{BB962C8B-B14F-4D97-AF65-F5344CB8AC3E}">
        <p14:creationId xmlns:p14="http://schemas.microsoft.com/office/powerpoint/2010/main" val="3522804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g2eb435550a3_0_1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0" name="Google Shape;190;g2eb435550a3_0_1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Google Shape;195;g2eb435550a3_0_2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6" name="Google Shape;196;g2eb435550a3_0_2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g2eb435550a3_0_2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4" name="Google Shape;204;g2eb435550a3_0_2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Google Shape;210;g2eb435550a3_0_2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1" name="Google Shape;211;g2eb435550a3_0_2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
        <p:cNvGrpSpPr/>
        <p:nvPr/>
      </p:nvGrpSpPr>
      <p:grpSpPr>
        <a:xfrm>
          <a:off x="0" y="0"/>
          <a:ext cx="0" cy="0"/>
          <a:chOff x="0" y="0"/>
          <a:chExt cx="0" cy="0"/>
        </a:xfrm>
      </p:grpSpPr>
      <p:sp>
        <p:nvSpPr>
          <p:cNvPr id="219" name="Google Shape;219;g2eb435550a3_0_2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0" name="Google Shape;220;g2eb435550a3_0_2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
        <p:cNvGrpSpPr/>
        <p:nvPr/>
      </p:nvGrpSpPr>
      <p:grpSpPr>
        <a:xfrm>
          <a:off x="0" y="0"/>
          <a:ext cx="0" cy="0"/>
          <a:chOff x="0" y="0"/>
          <a:chExt cx="0" cy="0"/>
        </a:xfrm>
      </p:grpSpPr>
      <p:sp>
        <p:nvSpPr>
          <p:cNvPr id="228" name="Google Shape;228;g2eb71d00369_1_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9" name="Google Shape;229;g2eb71d00369_1_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0</a:t>
            </a:fld>
            <a:endParaRPr lang="de-CH"/>
          </a:p>
        </p:txBody>
      </p:sp>
    </p:spTree>
    <p:extLst>
      <p:ext uri="{BB962C8B-B14F-4D97-AF65-F5344CB8AC3E}">
        <p14:creationId xmlns:p14="http://schemas.microsoft.com/office/powerpoint/2010/main" val="16784561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1</a:t>
            </a:fld>
            <a:endParaRPr lang="de-CH"/>
          </a:p>
        </p:txBody>
      </p:sp>
    </p:spTree>
    <p:extLst>
      <p:ext uri="{BB962C8B-B14F-4D97-AF65-F5344CB8AC3E}">
        <p14:creationId xmlns:p14="http://schemas.microsoft.com/office/powerpoint/2010/main" val="5198955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2</a:t>
            </a:fld>
            <a:endParaRPr lang="de-CH"/>
          </a:p>
        </p:txBody>
      </p:sp>
    </p:spTree>
    <p:extLst>
      <p:ext uri="{BB962C8B-B14F-4D97-AF65-F5344CB8AC3E}">
        <p14:creationId xmlns:p14="http://schemas.microsoft.com/office/powerpoint/2010/main" val="38826651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3</a:t>
            </a:fld>
            <a:endParaRPr lang="de-CH"/>
          </a:p>
        </p:txBody>
      </p:sp>
    </p:spTree>
    <p:extLst>
      <p:ext uri="{BB962C8B-B14F-4D97-AF65-F5344CB8AC3E}">
        <p14:creationId xmlns:p14="http://schemas.microsoft.com/office/powerpoint/2010/main" val="1360563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5</a:t>
            </a:fld>
            <a:endParaRPr lang="de-CH"/>
          </a:p>
        </p:txBody>
      </p:sp>
    </p:spTree>
    <p:extLst>
      <p:ext uri="{BB962C8B-B14F-4D97-AF65-F5344CB8AC3E}">
        <p14:creationId xmlns:p14="http://schemas.microsoft.com/office/powerpoint/2010/main" val="26258484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4</a:t>
            </a:fld>
            <a:endParaRPr lang="de-CH"/>
          </a:p>
        </p:txBody>
      </p:sp>
    </p:spTree>
    <p:extLst>
      <p:ext uri="{BB962C8B-B14F-4D97-AF65-F5344CB8AC3E}">
        <p14:creationId xmlns:p14="http://schemas.microsoft.com/office/powerpoint/2010/main" val="11685922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574860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7762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8</a:t>
            </a:fld>
            <a:endParaRPr lang="de-CH"/>
          </a:p>
        </p:txBody>
      </p:sp>
    </p:spTree>
    <p:extLst>
      <p:ext uri="{BB962C8B-B14F-4D97-AF65-F5344CB8AC3E}">
        <p14:creationId xmlns:p14="http://schemas.microsoft.com/office/powerpoint/2010/main" val="38063927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4FFD1E-068C-4775-AB61-A06ECF97265E}" type="slidenum">
              <a:rPr lang="de-CH" smtClean="0"/>
              <a:t>39</a:t>
            </a:fld>
            <a:endParaRPr lang="de-CH"/>
          </a:p>
        </p:txBody>
      </p:sp>
    </p:spTree>
    <p:extLst>
      <p:ext uri="{BB962C8B-B14F-4D97-AF65-F5344CB8AC3E}">
        <p14:creationId xmlns:p14="http://schemas.microsoft.com/office/powerpoint/2010/main" val="8995480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40</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3</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4</a:t>
            </a:fld>
            <a:endParaRPr lang="de-CH"/>
          </a:p>
        </p:txBody>
      </p:sp>
    </p:spTree>
    <p:extLst>
      <p:ext uri="{BB962C8B-B14F-4D97-AF65-F5344CB8AC3E}">
        <p14:creationId xmlns:p14="http://schemas.microsoft.com/office/powerpoint/2010/main" val="2275890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6</a:t>
            </a:fld>
            <a:endParaRPr lang="de-CH"/>
          </a:p>
        </p:txBody>
      </p:sp>
    </p:spTree>
    <p:extLst>
      <p:ext uri="{BB962C8B-B14F-4D97-AF65-F5344CB8AC3E}">
        <p14:creationId xmlns:p14="http://schemas.microsoft.com/office/powerpoint/2010/main" val="5557273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7</a:t>
            </a:fld>
            <a:endParaRPr lang="de-CH"/>
          </a:p>
        </p:txBody>
      </p:sp>
    </p:spTree>
    <p:extLst>
      <p:ext uri="{BB962C8B-B14F-4D97-AF65-F5344CB8AC3E}">
        <p14:creationId xmlns:p14="http://schemas.microsoft.com/office/powerpoint/2010/main" val="1732058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8</a:t>
            </a:fld>
            <a:endParaRPr lang="de-CH"/>
          </a:p>
        </p:txBody>
      </p:sp>
    </p:spTree>
    <p:extLst>
      <p:ext uri="{BB962C8B-B14F-4D97-AF65-F5344CB8AC3E}">
        <p14:creationId xmlns:p14="http://schemas.microsoft.com/office/powerpoint/2010/main" val="2008325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9</a:t>
            </a:fld>
            <a:endParaRPr lang="de-CH"/>
          </a:p>
        </p:txBody>
      </p:sp>
    </p:spTree>
    <p:extLst>
      <p:ext uri="{BB962C8B-B14F-4D97-AF65-F5344CB8AC3E}">
        <p14:creationId xmlns:p14="http://schemas.microsoft.com/office/powerpoint/2010/main" val="2912116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10</a:t>
            </a:fld>
            <a:endParaRPr lang="de-CH"/>
          </a:p>
        </p:txBody>
      </p:sp>
    </p:spTree>
    <p:extLst>
      <p:ext uri="{BB962C8B-B14F-4D97-AF65-F5344CB8AC3E}">
        <p14:creationId xmlns:p14="http://schemas.microsoft.com/office/powerpoint/2010/main" val="1676153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2</a:t>
            </a:fld>
            <a:endParaRPr lang="de-CH"/>
          </a:p>
        </p:txBody>
      </p:sp>
    </p:spTree>
    <p:extLst>
      <p:ext uri="{BB962C8B-B14F-4D97-AF65-F5344CB8AC3E}">
        <p14:creationId xmlns:p14="http://schemas.microsoft.com/office/powerpoint/2010/main" val="22610277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15.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15.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15.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411090419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it" smtClean="0"/>
              <a:pPr/>
              <a:t>‹#›</a:t>
            </a:fld>
            <a:endParaRPr lang="it"/>
          </a:p>
        </p:txBody>
      </p:sp>
    </p:spTree>
    <p:extLst>
      <p:ext uri="{BB962C8B-B14F-4D97-AF65-F5344CB8AC3E}">
        <p14:creationId xmlns:p14="http://schemas.microsoft.com/office/powerpoint/2010/main" val="920424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15.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15.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15.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15.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15.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15.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15.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15.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15.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8.xml"/><Relationship Id="rId7" Type="http://schemas.openxmlformats.org/officeDocument/2006/relationships/image" Target="../media/image24.sv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23.png"/><Relationship Id="rId5" Type="http://schemas.openxmlformats.org/officeDocument/2006/relationships/image" Target="../media/image22.svg"/><Relationship Id="rId10" Type="http://schemas.openxmlformats.org/officeDocument/2006/relationships/image" Target="../media/image8.png"/><Relationship Id="rId4" Type="http://schemas.openxmlformats.org/officeDocument/2006/relationships/image" Target="../media/image21.png"/><Relationship Id="rId9" Type="http://schemas.openxmlformats.org/officeDocument/2006/relationships/image" Target="../media/image26.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5.png"/><Relationship Id="rId18" Type="http://schemas.openxmlformats.org/officeDocument/2006/relationships/image" Target="../media/image10.png"/><Relationship Id="rId26" Type="http://schemas.openxmlformats.org/officeDocument/2006/relationships/hyperlink" Target="https://datatracker.ietf.org/doc/html/rfc9160" TargetMode="External"/><Relationship Id="rId39" Type="http://schemas.openxmlformats.org/officeDocument/2006/relationships/hyperlink" Target="https://datatracker.ietf.org/doc/html/draft-ietf-netconf-yang-notifications-versioning" TargetMode="External"/><Relationship Id="rId3" Type="http://schemas.openxmlformats.org/officeDocument/2006/relationships/tags" Target="../tags/tag3.xml"/><Relationship Id="rId21" Type="http://schemas.openxmlformats.org/officeDocument/2006/relationships/hyperlink" Target="https://datatracker.ietf.org/doc/html/draft-netana-nmop-network-anomaly-lifecycle" TargetMode="External"/><Relationship Id="rId34" Type="http://schemas.openxmlformats.org/officeDocument/2006/relationships/hyperlink" Target="https://datatracker.ietf.org/doc/html/rfc8639" TargetMode="External"/><Relationship Id="rId42" Type="http://schemas.openxmlformats.org/officeDocument/2006/relationships/hyperlink" Target="https://datatracker.ietf.org/doc/html/draft-netana-nmop-yang-message-broker-integration" TargetMode="External"/><Relationship Id="rId7" Type="http://schemas.openxmlformats.org/officeDocument/2006/relationships/tags" Target="../tags/tag7.xml"/><Relationship Id="rId12" Type="http://schemas.openxmlformats.org/officeDocument/2006/relationships/image" Target="../media/image4.svg"/><Relationship Id="rId17" Type="http://schemas.openxmlformats.org/officeDocument/2006/relationships/image" Target="../media/image9.png"/><Relationship Id="rId25" Type="http://schemas.openxmlformats.org/officeDocument/2006/relationships/hyperlink" Target="https://datatracker.ietf.org/doc/html/rfc9487" TargetMode="External"/><Relationship Id="rId33" Type="http://schemas.openxmlformats.org/officeDocument/2006/relationships/hyperlink" Target="https://datatracker.ietf.org/doc/html/draft-lucente-grow-bmp-rel" TargetMode="External"/><Relationship Id="rId38" Type="http://schemas.openxmlformats.org/officeDocument/2006/relationships/hyperlink" Target="https://datatracker.ietf.org/doc/html/draft-ahuang-netconf-notif-yang" TargetMode="External"/><Relationship Id="rId2" Type="http://schemas.openxmlformats.org/officeDocument/2006/relationships/tags" Target="../tags/tag2.xml"/><Relationship Id="rId16" Type="http://schemas.openxmlformats.org/officeDocument/2006/relationships/image" Target="../media/image8.png"/><Relationship Id="rId20" Type="http://schemas.openxmlformats.org/officeDocument/2006/relationships/hyperlink" Target="https://datatracker.ietf.org/doc/html/draft-netana-nmop-network-anomaly-semantics" TargetMode="External"/><Relationship Id="rId29" Type="http://schemas.openxmlformats.org/officeDocument/2006/relationships/hyperlink" Target="https://datatracker.ietf.org/doc/html/rfc8671" TargetMode="External"/><Relationship Id="rId41" Type="http://schemas.openxmlformats.org/officeDocument/2006/relationships/hyperlink" Target="https://datatracker.ietf.org/doc/html/draft-tgraf-netconf-yang-push-observation-time"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png"/><Relationship Id="rId24" Type="http://schemas.openxmlformats.org/officeDocument/2006/relationships/hyperlink" Target="https://datatracker.ietf.org/doc/html/rfc7011" TargetMode="External"/><Relationship Id="rId32" Type="http://schemas.openxmlformats.org/officeDocument/2006/relationships/hyperlink" Target="https://datatracker.ietf.org/doc/html/draft-ietf-grow-bmp-path-marking-tlv" TargetMode="External"/><Relationship Id="rId37" Type="http://schemas.openxmlformats.org/officeDocument/2006/relationships/hyperlink" Target="https://datatracker.ietf.org/doc/html/draft-ietf-netconf-distributed-notif" TargetMode="External"/><Relationship Id="rId40" Type="http://schemas.openxmlformats.org/officeDocument/2006/relationships/hyperlink" Target="https://datatracker.ietf.org/doc/html/draft-tgraf-netconf-notif-sequencing" TargetMode="External"/><Relationship Id="rId5" Type="http://schemas.openxmlformats.org/officeDocument/2006/relationships/tags" Target="../tags/tag5.xml"/><Relationship Id="rId15" Type="http://schemas.openxmlformats.org/officeDocument/2006/relationships/image" Target="../media/image7.png"/><Relationship Id="rId23" Type="http://schemas.openxmlformats.org/officeDocument/2006/relationships/hyperlink" Target="https://datatracker.ietf.org/doc/html/draft-netana-nmop-network-anomaly-architecture" TargetMode="External"/><Relationship Id="rId28" Type="http://schemas.openxmlformats.org/officeDocument/2006/relationships/hyperlink" Target="https://datatracker.ietf.org/doc/html/rfc7854" TargetMode="External"/><Relationship Id="rId36" Type="http://schemas.openxmlformats.org/officeDocument/2006/relationships/hyperlink" Target="https://datatracker.ietf.org/doc/html/draft-ietf-netconf-udp-notif" TargetMode="External"/><Relationship Id="rId10" Type="http://schemas.openxmlformats.org/officeDocument/2006/relationships/notesSlide" Target="../notesSlides/notesSlide1.xml"/><Relationship Id="rId19" Type="http://schemas.openxmlformats.org/officeDocument/2006/relationships/image" Target="../media/image11.png"/><Relationship Id="rId31" Type="http://schemas.openxmlformats.org/officeDocument/2006/relationships/hyperlink" Target="https://datatracker.ietf.org/doc/html/draft-ietf-grow-bmp-tlv" TargetMode="External"/><Relationship Id="rId4" Type="http://schemas.openxmlformats.org/officeDocument/2006/relationships/tags" Target="../tags/tag4.xml"/><Relationship Id="rId9" Type="http://schemas.openxmlformats.org/officeDocument/2006/relationships/slideLayout" Target="../slideLayouts/slideLayout12.xml"/><Relationship Id="rId14" Type="http://schemas.openxmlformats.org/officeDocument/2006/relationships/image" Target="../media/image6.png"/><Relationship Id="rId22" Type="http://schemas.openxmlformats.org/officeDocument/2006/relationships/hyperlink" Target="https://datatracker.ietf.org/doc/html/rfc8632" TargetMode="External"/><Relationship Id="rId27" Type="http://schemas.openxmlformats.org/officeDocument/2006/relationships/hyperlink" Target="https://datatracker.ietf.org/doc/html/draft-ietf-opsawg-ipfix-on-path-telemetry" TargetMode="External"/><Relationship Id="rId30" Type="http://schemas.openxmlformats.org/officeDocument/2006/relationships/hyperlink" Target="https://datatracker.ietf.org/doc/html/rfc9069" TargetMode="External"/><Relationship Id="rId35" Type="http://schemas.openxmlformats.org/officeDocument/2006/relationships/hyperlink" Target="https://datatracker.ietf.org/doc/html/rfc8641"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14.xml"/><Relationship Id="rId5" Type="http://schemas.openxmlformats.org/officeDocument/2006/relationships/image" Target="../media/image34.png"/><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14.xml"/><Relationship Id="rId4" Type="http://schemas.openxmlformats.org/officeDocument/2006/relationships/image" Target="../media/image42.png"/></Relationships>
</file>

<file path=ppt/slides/_rels/slide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14.xml"/><Relationship Id="rId4" Type="http://schemas.openxmlformats.org/officeDocument/2006/relationships/image" Target="../media/image44.png"/></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5.xml"/><Relationship Id="rId1" Type="http://schemas.openxmlformats.org/officeDocument/2006/relationships/slideLayout" Target="../slideLayouts/slideLayout14.xml"/><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sv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50.png"/><Relationship Id="rId5" Type="http://schemas.openxmlformats.org/officeDocument/2006/relationships/image" Target="../media/image49.svg"/><Relationship Id="rId4" Type="http://schemas.openxmlformats.org/officeDocument/2006/relationships/image" Target="../media/image48.png"/><Relationship Id="rId9" Type="http://schemas.openxmlformats.org/officeDocument/2006/relationships/image" Target="../media/image53.svg"/></Relationships>
</file>

<file path=ppt/slides/_rels/slide3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7.xml"/><Relationship Id="rId1" Type="http://schemas.openxmlformats.org/officeDocument/2006/relationships/slideLayout" Target="../slideLayouts/slideLayout12.xml"/><Relationship Id="rId4" Type="http://schemas.openxmlformats.org/officeDocument/2006/relationships/image" Target="../media/image53.svg"/></Relationships>
</file>

<file path=ppt/slides/_rels/slide3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8.xml"/><Relationship Id="rId1" Type="http://schemas.openxmlformats.org/officeDocument/2006/relationships/slideLayout" Target="../slideLayouts/slideLayout12.xml"/><Relationship Id="rId4" Type="http://schemas.openxmlformats.org/officeDocument/2006/relationships/image" Target="../media/image53.svg"/></Relationships>
</file>

<file path=ppt/slides/_rels/slide33.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50.png"/><Relationship Id="rId7" Type="http://schemas.openxmlformats.org/officeDocument/2006/relationships/image" Target="../media/image52.png"/><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image" Target="../media/image55.svg"/><Relationship Id="rId5" Type="http://schemas.openxmlformats.org/officeDocument/2006/relationships/image" Target="../media/image54.png"/><Relationship Id="rId10" Type="http://schemas.openxmlformats.org/officeDocument/2006/relationships/image" Target="../media/image57.png"/><Relationship Id="rId4" Type="http://schemas.openxmlformats.org/officeDocument/2006/relationships/image" Target="../media/image51.svg"/><Relationship Id="rId9" Type="http://schemas.openxmlformats.org/officeDocument/2006/relationships/image" Target="../media/image56.png"/></Relationships>
</file>

<file path=ppt/slides/_rels/slide3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58.png"/><Relationship Id="rId7" Type="http://schemas.openxmlformats.org/officeDocument/2006/relationships/image" Target="../media/image60.svg"/><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image" Target="../media/image59.png"/><Relationship Id="rId11" Type="http://schemas.openxmlformats.org/officeDocument/2006/relationships/image" Target="../media/image49.svg"/><Relationship Id="rId5" Type="http://schemas.openxmlformats.org/officeDocument/2006/relationships/image" Target="../media/image51.svg"/><Relationship Id="rId10" Type="http://schemas.openxmlformats.org/officeDocument/2006/relationships/image" Target="../media/image48.png"/><Relationship Id="rId4" Type="http://schemas.openxmlformats.org/officeDocument/2006/relationships/image" Target="../media/image50.png"/><Relationship Id="rId9" Type="http://schemas.openxmlformats.org/officeDocument/2006/relationships/image" Target="../media/image53.svg"/></Relationships>
</file>

<file path=ppt/slides/_rels/slide3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12.xml"/><Relationship Id="rId7" Type="http://schemas.openxmlformats.org/officeDocument/2006/relationships/hyperlink" Target="https://datatracker.ietf.org/doc/html/draft-ietf-grow-bmp-path-marking-tlv" TargetMode="Externa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hyperlink" Target="https://datatracker.ietf.org/doc/html/draft-lucente-grow-bmp-rel" TargetMode="External"/><Relationship Id="rId5" Type="http://schemas.openxmlformats.org/officeDocument/2006/relationships/hyperlink" Target="https://datatracker.ietf.org/doc/html/rfc8671" TargetMode="External"/><Relationship Id="rId4" Type="http://schemas.openxmlformats.org/officeDocument/2006/relationships/hyperlink" Target="https://datatracker.ietf.org/doc/html/draft-boucadair-nmop-rfc3535-20years-later-02#section-4.7" TargetMode="External"/><Relationship Id="rId9" Type="http://schemas.openxmlformats.org/officeDocument/2006/relationships/image" Target="../media/image51.sv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chart" Target="../charts/chart1.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chart" Target="../charts/chart2.xml"/></Relationships>
</file>

<file path=ppt/slides/_rels/slide38.xml.rels><?xml version="1.0" encoding="UTF-8" standalone="yes"?>
<Relationships xmlns="http://schemas.openxmlformats.org/package/2006/relationships"><Relationship Id="rId3" Type="http://schemas.openxmlformats.org/officeDocument/2006/relationships/hyperlink" Target="https://datatracker.ietf.org/doc/html/draft-ietf-nmop-terminology" TargetMode="External"/><Relationship Id="rId7" Type="http://schemas.openxmlformats.org/officeDocument/2006/relationships/hyperlink" Target="https://datatracker.ietf.org/doc/html/draft-netana-nmop-network-anomaly-lifecycle"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hyperlink" Target="https://datatracker.ietf.org/doc/html/draft-netana-nmop-network-anomaly-architecture-00" TargetMode="External"/><Relationship Id="rId5" Type="http://schemas.openxmlformats.org/officeDocument/2006/relationships/hyperlink" Target="https://datatracker.ietf.org/doc/html/draft-netana-nmop-network-anomaly-semantics" TargetMode="External"/><Relationship Id="rId4" Type="http://schemas.openxmlformats.org/officeDocument/2006/relationships/hyperlink" Target="https://datatracker.ietf.org/doc/html/draft-netana-nmop-network-anomaly-architecture"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hal.science/hal-04307611" TargetMode="External"/><Relationship Id="rId2" Type="http://schemas.openxmlformats.org/officeDocument/2006/relationships/notesSlide" Target="../notesSlides/notesSlide34.xml"/><Relationship Id="rId1" Type="http://schemas.openxmlformats.org/officeDocument/2006/relationships/slideLayout" Target="../slideLayouts/slideLayout12.xml"/><Relationship Id="rId5" Type="http://schemas.openxmlformats.org/officeDocument/2006/relationships/image" Target="../media/image62.png"/><Relationship Id="rId4" Type="http://schemas.openxmlformats.org/officeDocument/2006/relationships/image" Target="../media/image61.png"/></Relationships>
</file>

<file path=ppt/slides/_rels/slide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hyperlink" Target="https://datatracker.ietf.org/doc/html/draft-ietf-nmop-yang-message-broker-integration"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hyperlink" Target="https://datatracker.ietf.org/doc/html/rfc9341" TargetMode="External"/><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hyperlink" Target="https://datatracker.ietf.org/doc/html/draft-ietf-opsawg-ipfix-on-path-telemetry" TargetMode="External"/><Relationship Id="rId5" Type="http://schemas.openxmlformats.org/officeDocument/2006/relationships/hyperlink" Target="https://datatracker.ietf.org/doc/html/rfc9378" TargetMode="External"/><Relationship Id="rId4" Type="http://schemas.openxmlformats.org/officeDocument/2006/relationships/hyperlink" Target="https://datatracker.ietf.org/doc/html/draft-zhou-ippm-enhanced-alternate-marking"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hyperlink" Target="https://datatracker.ietf.org/doc/html/draft-ietf-opsawg-ipfix-on-path-telemetry" TargetMode="External"/><Relationship Id="rId7" Type="http://schemas.openxmlformats.org/officeDocument/2006/relationships/image" Target="../media/image17.emf"/><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hyperlink" Target="https://datatracker.ietf.org/doc/html/rfc9487" TargetMode="External"/><Relationship Id="rId5" Type="http://schemas.openxmlformats.org/officeDocument/2006/relationships/hyperlink" Target="https://datatracker.ietf.org/doc/html/draft-spiegel-ippm-ioam-rawexport" TargetMode="External"/><Relationship Id="rId4" Type="http://schemas.openxmlformats.org/officeDocument/2006/relationships/hyperlink" Target="https://datatracker.ietf.org/doc/html/draft-ietf-opsawg-ipfix-alt-mark"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a </a:t>
            </a:r>
            <a:r>
              <a:rPr lang="en-US" sz="3400" b="1" dirty="0">
                <a:solidFill>
                  <a:srgbClr val="FF0000"/>
                </a:solidFill>
              </a:rPr>
              <a:t>Network Anomaly Detection </a:t>
            </a:r>
            <a:r>
              <a:rPr lang="en-US" sz="3400" b="1" dirty="0"/>
              <a:t>Framework </a:t>
            </a:r>
            <a:br>
              <a:rPr lang="en-US" sz="3600" b="1" dirty="0"/>
            </a:br>
            <a:r>
              <a:rPr lang="en-US" sz="2800" dirty="0"/>
              <a:t>draft-netana-nmop-network-anomaly-architecture-00</a:t>
            </a:r>
          </a:p>
          <a:p>
            <a:endParaRPr lang="en-US" sz="2800" dirty="0"/>
          </a:p>
          <a:p>
            <a:r>
              <a:rPr lang="en-US" sz="2800" dirty="0">
                <a:solidFill>
                  <a:schemeClr val="bg2">
                    <a:lumMod val="75000"/>
                  </a:schemeClr>
                </a:solidFill>
              </a:rPr>
              <a:t>Motivation and architecture of a Network Anomaly Detection Framework</a:t>
            </a:r>
          </a:p>
          <a:p>
            <a:r>
              <a:rPr lang="en-US" sz="2800" dirty="0">
                <a:solidFill>
                  <a:schemeClr val="bg2">
                    <a:lumMod val="75000"/>
                  </a:schemeClr>
                </a:solidFill>
              </a:rPr>
              <a:t>	and the relationship to other documents describing</a:t>
            </a:r>
          </a:p>
          <a:p>
            <a:r>
              <a:rPr lang="en-US" sz="2800" dirty="0">
                <a:solidFill>
                  <a:schemeClr val="bg2">
                    <a:lumMod val="75000"/>
                  </a:schemeClr>
                </a:solidFill>
              </a:rPr>
              <a:t>		network symptom semantics and network incident lifecycle</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290457"/>
            <a:ext cx="11163943" cy="107117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wanting.du@swisscom.com</a:t>
            </a:r>
            <a:br>
              <a:rPr lang="de-CH" sz="1400" dirty="0">
                <a:latin typeface="+mj-lt"/>
              </a:rPr>
            </a:br>
            <a:r>
              <a:rPr lang="de-CH" sz="1400" dirty="0">
                <a:latin typeface="+mj-lt"/>
              </a:rPr>
              <a:t>pierre.francois@insa-lyon.fr</a:t>
            </a:r>
          </a:p>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vincenzo.riccobene@huawei-partners.com</a:t>
            </a:r>
            <a:br>
              <a:rPr lang="de-CH" sz="1400" dirty="0">
                <a:latin typeface="+mj-lt"/>
              </a:rPr>
            </a:br>
            <a:endParaRPr lang="de-CH" sz="1400" dirty="0">
              <a:latin typeface="+mj-lt"/>
            </a:endParaRPr>
          </a:p>
          <a:p>
            <a:pPr marL="0" indent="0" algn="r">
              <a:spcBef>
                <a:spcPts val="300"/>
              </a:spcBef>
              <a:buNone/>
            </a:pPr>
            <a:r>
              <a:rPr lang="de-CH" sz="1400">
                <a:latin typeface="+mj-lt"/>
              </a:rPr>
              <a:t>15. </a:t>
            </a:r>
            <a:r>
              <a:rPr lang="de-CH" sz="1400" dirty="0" err="1">
                <a:latin typeface="+mj-lt"/>
              </a:rPr>
              <a:t>July</a:t>
            </a:r>
            <a:r>
              <a:rPr lang="de-CH" sz="1400" dirty="0">
                <a:latin typeface="+mj-lt"/>
              </a:rPr>
              <a:t>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ext Placeholder 10">
            <a:extLst>
              <a:ext uri="{FF2B5EF4-FFF2-40B4-BE49-F238E27FC236}">
                <a16:creationId xmlns:a16="http://schemas.microsoft.com/office/drawing/2014/main" id="{0E0DAD8A-94CD-EADA-C24A-D442928BA111}"/>
              </a:ext>
            </a:extLst>
          </p:cNvPr>
          <p:cNvSpPr txBox="1">
            <a:spLocks/>
          </p:cNvSpPr>
          <p:nvPr/>
        </p:nvSpPr>
        <p:spPr bwMode="black">
          <a:xfrm>
            <a:off x="2823598" y="1891619"/>
            <a:ext cx="3530068" cy="926996"/>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50" normalizeH="0" baseline="0" noProof="0" dirty="0">
                <a:ln>
                  <a:noFill/>
                </a:ln>
                <a:solidFill>
                  <a:prstClr val="black"/>
                </a:solidFill>
                <a:effectLst/>
                <a:uLnTx/>
                <a:uFillTx/>
                <a:latin typeface="Calibri Light" panose="020F0302020204030204"/>
                <a:ea typeface="+mn-ea"/>
                <a:cs typeface="+mn-cs"/>
              </a:rPr>
              <a:t>Network Anomaly Detection</a:t>
            </a:r>
          </a:p>
        </p:txBody>
      </p:sp>
      <p:sp>
        <p:nvSpPr>
          <p:cNvPr id="3" name="Inhaltsplatzhalter 2">
            <a:extLst>
              <a:ext uri="{FF2B5EF4-FFF2-40B4-BE49-F238E27FC236}">
                <a16:creationId xmlns:a16="http://schemas.microsoft.com/office/drawing/2014/main" id="{01913334-AF3D-1C65-5BD7-83A59BC04A95}"/>
              </a:ext>
            </a:extLst>
          </p:cNvPr>
          <p:cNvSpPr txBox="1">
            <a:spLocks/>
          </p:cNvSpPr>
          <p:nvPr/>
        </p:nvSpPr>
        <p:spPr bwMode="black">
          <a:xfrm>
            <a:off x="1033895" y="3414211"/>
            <a:ext cx="5806744" cy="2842871"/>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For Connectivity Service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Network Anomaly Detection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constantly monitors and detects any network or device topology change</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long with their associated forwarding consequences for customers as outliers. Notifications are sent to the Network Operation Center before the customer is aware of service disruptions.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It offers operational metrics for in-depth analysis,</a:t>
            </a:r>
            <a:r>
              <a:rPr kumimoji="0" lang="en-US" sz="2000" b="0" i="0" u="none" strike="noStrike" kern="1200" cap="none" spc="0" normalizeH="0" baseline="0" noProof="0" dirty="0">
                <a:ln>
                  <a:noFill/>
                </a:ln>
                <a:solidFill>
                  <a:srgbClr val="FF0000"/>
                </a:solidFill>
                <a:effectLst/>
                <a:uLnTx/>
                <a:uFillTx/>
                <a:latin typeface="Calibri" panose="020F0502020204030204"/>
                <a:ea typeface="+mn-ea"/>
                <a:cs typeface="+mn-cs"/>
              </a:rPr>
              <a:t>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llowing to understand in which platform the problem originates and facilitates problem resolution. </a:t>
            </a:r>
          </a:p>
        </p:txBody>
      </p:sp>
      <p:sp>
        <p:nvSpPr>
          <p:cNvPr id="4" name="Inhaltsplatzhalter 1">
            <a:extLst>
              <a:ext uri="{FF2B5EF4-FFF2-40B4-BE49-F238E27FC236}">
                <a16:creationId xmlns:a16="http://schemas.microsoft.com/office/drawing/2014/main" id="{24F2E4A1-9E2D-0EF1-0811-4E46B062701C}"/>
              </a:ext>
            </a:extLst>
          </p:cNvPr>
          <p:cNvSpPr txBox="1">
            <a:spLocks/>
          </p:cNvSpPr>
          <p:nvPr/>
        </p:nvSpPr>
        <p:spPr bwMode="black">
          <a:xfrm>
            <a:off x="7514368" y="1734999"/>
            <a:ext cx="4391685"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nswer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changed and when, on which connectivity service, and how does it impact the customer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ocuse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vides meaningful connectivity service impact information before customer is aware of and support in root-cause analysi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ata Mesh</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sumes operational real-time Forwarding Plane, Control Plane and Management Plane metrics and produces analytical alert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irection</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m connectivity service to network platform.</a:t>
            </a:r>
          </a:p>
        </p:txBody>
      </p:sp>
      <p:sp>
        <p:nvSpPr>
          <p:cNvPr id="7" name="Inhaltsplatzhalter 1">
            <a:extLst>
              <a:ext uri="{FF2B5EF4-FFF2-40B4-BE49-F238E27FC236}">
                <a16:creationId xmlns:a16="http://schemas.microsoft.com/office/drawing/2014/main" id="{2727A73F-4E58-7304-CF16-627D8D6C87D5}"/>
              </a:ext>
            </a:extLst>
          </p:cNvPr>
          <p:cNvSpPr txBox="1">
            <a:spLocks/>
          </p:cNvSpPr>
          <p:nvPr/>
        </p:nvSpPr>
        <p:spPr bwMode="black">
          <a:xfrm>
            <a:off x="7514369" y="3383533"/>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AC97AA67-80C3-B6F7-F631-98BE70FEFABA}"/>
              </a:ext>
            </a:extLst>
          </p:cNvPr>
          <p:cNvSpPr>
            <a:spLocks noEditPoints="1"/>
          </p:cNvSpPr>
          <p:nvPr>
            <p:custDataLst>
              <p:tags r:id="rId1"/>
            </p:custDataLst>
          </p:nvPr>
        </p:nvSpPr>
        <p:spPr bwMode="black">
          <a:xfrm>
            <a:off x="6924136" y="3100652"/>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EABA9"/>
              </a:solidFill>
              <a:effectLst/>
              <a:uLnTx/>
              <a:uFillTx/>
              <a:latin typeface="Calibri" panose="020F0502020204030204"/>
              <a:ea typeface="+mn-ea"/>
              <a:cs typeface="+mn-cs"/>
            </a:endParaRPr>
          </a:p>
        </p:txBody>
      </p:sp>
      <p:sp>
        <p:nvSpPr>
          <p:cNvPr id="9" name="Inhaltsplatzhalter 1">
            <a:extLst>
              <a:ext uri="{FF2B5EF4-FFF2-40B4-BE49-F238E27FC236}">
                <a16:creationId xmlns:a16="http://schemas.microsoft.com/office/drawing/2014/main" id="{AE8C7DD3-D1F1-0DFF-EE87-6F292DE4F59F}"/>
              </a:ext>
            </a:extLst>
          </p:cNvPr>
          <p:cNvSpPr txBox="1">
            <a:spLocks/>
          </p:cNvSpPr>
          <p:nvPr/>
        </p:nvSpPr>
        <p:spPr bwMode="black">
          <a:xfrm>
            <a:off x="7514369" y="5387987"/>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0" name="Graphic 9">
            <a:extLst>
              <a:ext uri="{FF2B5EF4-FFF2-40B4-BE49-F238E27FC236}">
                <a16:creationId xmlns:a16="http://schemas.microsoft.com/office/drawing/2014/main" id="{EF8CBE0D-416F-8BAD-1E56-FA9713FABC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83242" y="1734999"/>
            <a:ext cx="410400" cy="410400"/>
          </a:xfrm>
          <a:prstGeom prst="rect">
            <a:avLst/>
          </a:prstGeom>
        </p:spPr>
      </p:pic>
      <p:pic>
        <p:nvPicPr>
          <p:cNvPr id="11" name="Graphic 10">
            <a:extLst>
              <a:ext uri="{FF2B5EF4-FFF2-40B4-BE49-F238E27FC236}">
                <a16:creationId xmlns:a16="http://schemas.microsoft.com/office/drawing/2014/main" id="{0B68DB88-2125-5D8A-E234-D104730CD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83242" y="5833131"/>
            <a:ext cx="410400" cy="410400"/>
          </a:xfrm>
          <a:prstGeom prst="rect">
            <a:avLst/>
          </a:prstGeom>
        </p:spPr>
      </p:pic>
      <p:sp>
        <p:nvSpPr>
          <p:cNvPr id="12" name="Inhaltsplatzhalter 1">
            <a:extLst>
              <a:ext uri="{FF2B5EF4-FFF2-40B4-BE49-F238E27FC236}">
                <a16:creationId xmlns:a16="http://schemas.microsoft.com/office/drawing/2014/main" id="{F823DFEB-60B2-6861-BABA-41683121FBF6}"/>
              </a:ext>
            </a:extLst>
          </p:cNvPr>
          <p:cNvSpPr txBox="1">
            <a:spLocks/>
          </p:cNvSpPr>
          <p:nvPr/>
        </p:nvSpPr>
        <p:spPr bwMode="black">
          <a:xfrm>
            <a:off x="7514369" y="5013855"/>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F95B0A8A-AF7B-BD55-22AA-98E6E6CF536D}"/>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882162" y="4448315"/>
            <a:ext cx="411480" cy="411480"/>
          </a:xfrm>
          <a:prstGeom prst="rect">
            <a:avLst/>
          </a:prstGeom>
        </p:spPr>
      </p:pic>
      <p:pic>
        <p:nvPicPr>
          <p:cNvPr id="15" name="Picture 14">
            <a:extLst>
              <a:ext uri="{FF2B5EF4-FFF2-40B4-BE49-F238E27FC236}">
                <a16:creationId xmlns:a16="http://schemas.microsoft.com/office/drawing/2014/main" id="{D722580C-E14C-C31D-D703-E102C17A75C2}"/>
              </a:ext>
            </a:extLst>
          </p:cNvPr>
          <p:cNvPicPr>
            <a:picLocks noChangeAspect="1"/>
          </p:cNvPicPr>
          <p:nvPr/>
        </p:nvPicPr>
        <p:blipFill>
          <a:blip r:embed="rId10"/>
          <a:stretch>
            <a:fillRect/>
          </a:stretch>
        </p:blipFill>
        <p:spPr>
          <a:xfrm>
            <a:off x="993210" y="1891618"/>
            <a:ext cx="1685925" cy="1457325"/>
          </a:xfrm>
          <a:prstGeom prst="rect">
            <a:avLst/>
          </a:prstGeom>
        </p:spPr>
      </p:pic>
      <p:sp>
        <p:nvSpPr>
          <p:cNvPr id="16" name="Title 1">
            <a:extLst>
              <a:ext uri="{FF2B5EF4-FFF2-40B4-BE49-F238E27FC236}">
                <a16:creationId xmlns:a16="http://schemas.microsoft.com/office/drawing/2014/main" id="{2D8B3AFB-4500-052D-4E96-82B4FC5CC5DF}"/>
              </a:ext>
            </a:extLst>
          </p:cNvPr>
          <p:cNvSpPr>
            <a:spLocks noGrp="1"/>
          </p:cNvSpPr>
          <p:nvPr>
            <p:ph type="title"/>
          </p:nvPr>
        </p:nvSpPr>
        <p:spPr>
          <a:xfrm>
            <a:off x="838200" y="365125"/>
            <a:ext cx="10515600" cy="1325563"/>
          </a:xfrm>
        </p:spPr>
        <p:txBody>
          <a:bodyPr>
            <a:normAutofit/>
          </a:bodyPr>
          <a:lstStyle/>
          <a:p>
            <a:r>
              <a:rPr lang="en-US" sz="2800" b="1" dirty="0"/>
              <a:t>What does Network Anomaly Detection mean</a:t>
            </a:r>
            <a:br>
              <a:rPr lang="en-US" sz="3600" dirty="0"/>
            </a:br>
            <a:r>
              <a:rPr lang="en-US" sz="2700" dirty="0">
                <a:solidFill>
                  <a:schemeClr val="bg2">
                    <a:lumMod val="75000"/>
                  </a:schemeClr>
                </a:solidFill>
              </a:rPr>
              <a:t>Monitor changes, called outliers, in networks</a:t>
            </a:r>
          </a:p>
        </p:txBody>
      </p:sp>
    </p:spTree>
    <p:extLst>
      <p:ext uri="{BB962C8B-B14F-4D97-AF65-F5344CB8AC3E}">
        <p14:creationId xmlns:p14="http://schemas.microsoft.com/office/powerpoint/2010/main" val="33846529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From network incidents postmortems we network operators </a:t>
            </a:r>
            <a:r>
              <a:rPr lang="en-US" b="1" dirty="0">
                <a:solidFill>
                  <a:srgbClr val="FF0000"/>
                </a:solidFill>
              </a:rPr>
              <a:t>learn and improve</a:t>
            </a:r>
            <a:r>
              <a:rPr lang="en-US" dirty="0"/>
              <a:t> so does network anomaly detection and supervised and semi-supervised machine learning.</a:t>
            </a:r>
          </a:p>
          <a:p>
            <a:r>
              <a:rPr lang="en-US" dirty="0"/>
              <a:t>The more network incidents are observed, the more we can improve. With more incidents the </a:t>
            </a:r>
            <a:r>
              <a:rPr lang="en-US" b="1" dirty="0">
                <a:solidFill>
                  <a:srgbClr val="FF0000"/>
                </a:solidFill>
              </a:rPr>
              <a:t>postmortem process needs be automated, let's get organized </a:t>
            </a:r>
            <a:r>
              <a:rPr lang="en-US" dirty="0"/>
              <a:t>first by defining human and machine-readable metadata semantics and annotate operational and analytical data.</a:t>
            </a:r>
          </a:p>
          <a:p>
            <a:r>
              <a:rPr lang="en-US" dirty="0"/>
              <a:t>Let's get further organized by exchanging standardized labeled network incident data among network operators, vendors and academia to </a:t>
            </a:r>
            <a:r>
              <a:rPr lang="en-US" b="1" dirty="0">
                <a:solidFill>
                  <a:srgbClr val="FF0000"/>
                </a:solidFill>
              </a:rPr>
              <a:t>collaborate on academic research</a:t>
            </a:r>
            <a:r>
              <a:rPr lang="en-US" dirty="0"/>
              <a:t>.</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308324"/>
          </a:xfrm>
          <a:prstGeom prst="rect">
            <a:avLst/>
          </a:prstGeom>
          <a:noFill/>
        </p:spPr>
        <p:txBody>
          <a:bodyPr wrap="square">
            <a:spAutoFit/>
          </a:bodyPr>
          <a:lstStyle/>
          <a:p>
            <a:pPr algn="ctr"/>
            <a:r>
              <a:rPr lang="en-US" sz="3000" b="1" dirty="0">
                <a:latin typeface="+mj-lt"/>
              </a:rPr>
              <a:t>«</a:t>
            </a:r>
            <a:r>
              <a:rPr lang="en-US" sz="2800" b="1" dirty="0">
                <a:solidFill>
                  <a:schemeClr val="accent6"/>
                </a:solidFill>
                <a:latin typeface="+mj-lt"/>
              </a:rPr>
              <a:t> </a:t>
            </a:r>
            <a:r>
              <a:rPr lang="en-US" sz="2800" dirty="0">
                <a:solidFill>
                  <a:srgbClr val="FF0000"/>
                </a:solidFill>
              </a:rPr>
              <a:t>The community working on Network Anomaly Detection </a:t>
            </a:r>
            <a:r>
              <a:rPr lang="en-US" sz="2800" dirty="0"/>
              <a:t>is probably the only group </a:t>
            </a:r>
            <a:r>
              <a:rPr lang="en-US" sz="2800" dirty="0">
                <a:solidFill>
                  <a:srgbClr val="FF0000"/>
                </a:solidFill>
              </a:rPr>
              <a:t>wishing for more network incidents</a:t>
            </a:r>
            <a:r>
              <a:rPr lang="en-US" sz="2800" dirty="0"/>
              <a:t>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What our motivation is</a:t>
            </a:r>
            <a:br>
              <a:rPr lang="en-US" sz="3600" dirty="0"/>
            </a:br>
            <a:r>
              <a:rPr lang="en-US" sz="2700" dirty="0">
                <a:solidFill>
                  <a:schemeClr val="bg2">
                    <a:lumMod val="75000"/>
                  </a:schemeClr>
                </a:solidFill>
              </a:rPr>
              <a:t>Automate learn and improve</a:t>
            </a:r>
          </a:p>
        </p:txBody>
      </p:sp>
    </p:spTree>
    <p:extLst>
      <p:ext uri="{BB962C8B-B14F-4D97-AF65-F5344CB8AC3E}">
        <p14:creationId xmlns:p14="http://schemas.microsoft.com/office/powerpoint/2010/main" val="15809381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5365102" y="671804"/>
            <a:ext cx="6637041" cy="5289564"/>
          </a:xfrm>
        </p:spPr>
        <p:txBody>
          <a:bodyPr>
            <a:noAutofit/>
          </a:bodyPr>
          <a:lstStyle/>
          <a:p>
            <a:pPr>
              <a:spcBef>
                <a:spcPts val="300"/>
              </a:spcBef>
            </a:pPr>
            <a:r>
              <a:rPr lang="en-US" sz="1800" b="1" dirty="0">
                <a:solidFill>
                  <a:srgbClr val="FF0000"/>
                </a:solidFill>
              </a:rPr>
              <a:t>Service Inventory </a:t>
            </a:r>
            <a:r>
              <a:rPr lang="en-US" sz="1800" dirty="0"/>
              <a:t>contains list of the connectivity services.</a:t>
            </a:r>
          </a:p>
          <a:p>
            <a:pPr>
              <a:spcBef>
                <a:spcPts val="300"/>
              </a:spcBef>
            </a:pPr>
            <a:r>
              <a:rPr lang="en-US" sz="1800" b="1" dirty="0">
                <a:solidFill>
                  <a:srgbClr val="FF0000"/>
                </a:solidFill>
              </a:rPr>
              <a:t>Service Disruption Detection </a:t>
            </a:r>
            <a:r>
              <a:rPr lang="en-US" sz="1800" dirty="0"/>
              <a:t>processes aggregated network data to decide whether a service is degraded or not.</a:t>
            </a:r>
          </a:p>
          <a:p>
            <a:pPr>
              <a:spcBef>
                <a:spcPts val="300"/>
              </a:spcBef>
            </a:pPr>
            <a:r>
              <a:rPr lang="en-US" sz="1800" b="1" dirty="0">
                <a:solidFill>
                  <a:srgbClr val="FF0000"/>
                </a:solidFill>
              </a:rPr>
              <a:t>Service Disruption Detection Configuration </a:t>
            </a:r>
            <a:r>
              <a:rPr lang="en-US" sz="1800" dirty="0"/>
              <a:t>defines the set of approaches that need to be applied to perform SDD. </a:t>
            </a:r>
          </a:p>
          <a:p>
            <a:pPr>
              <a:spcBef>
                <a:spcPts val="300"/>
              </a:spcBef>
            </a:pPr>
            <a:r>
              <a:rPr lang="en-US" sz="1800" b="1" dirty="0">
                <a:solidFill>
                  <a:srgbClr val="FF0000"/>
                </a:solidFill>
              </a:rPr>
              <a:t>Operational Data Collection </a:t>
            </a:r>
            <a:r>
              <a:rPr lang="en-US" sz="1800" dirty="0"/>
              <a:t>manages network telemetry subscriptions and transforms data into message broker.</a:t>
            </a:r>
          </a:p>
          <a:p>
            <a:pPr>
              <a:spcBef>
                <a:spcPts val="300"/>
              </a:spcBef>
            </a:pPr>
            <a:r>
              <a:rPr lang="en-US" sz="1800" b="1" dirty="0">
                <a:solidFill>
                  <a:srgbClr val="FF0000"/>
                </a:solidFill>
              </a:rPr>
              <a:t>Operational Data Aggregation </a:t>
            </a:r>
            <a:r>
              <a:rPr lang="en-US" sz="1800" dirty="0"/>
              <a:t>produces data upon which detection of a service disruption can be performed.</a:t>
            </a:r>
          </a:p>
          <a:p>
            <a:pPr>
              <a:spcBef>
                <a:spcPts val="300"/>
              </a:spcBef>
            </a:pPr>
            <a:r>
              <a:rPr lang="en-US" sz="1800" b="1" dirty="0">
                <a:solidFill>
                  <a:srgbClr val="FF0000"/>
                </a:solidFill>
              </a:rPr>
              <a:t>Network Modeling </a:t>
            </a:r>
            <a:r>
              <a:rPr lang="en-US" sz="1800" dirty="0"/>
              <a:t>establishes knowledge of network relationships.</a:t>
            </a:r>
          </a:p>
          <a:p>
            <a:pPr>
              <a:spcBef>
                <a:spcPts val="300"/>
              </a:spcBef>
            </a:pPr>
            <a:r>
              <a:rPr lang="en-US" sz="1800" b="1" dirty="0">
                <a:solidFill>
                  <a:srgbClr val="FF0000"/>
                </a:solidFill>
              </a:rPr>
              <a:t>Data Profiling </a:t>
            </a:r>
            <a:r>
              <a:rPr lang="en-US" sz="1800" dirty="0"/>
              <a:t>categorizes nondeterministic customer related data.</a:t>
            </a:r>
          </a:p>
          <a:p>
            <a:pPr>
              <a:spcBef>
                <a:spcPts val="300"/>
              </a:spcBef>
            </a:pPr>
            <a:r>
              <a:rPr lang="en-US" sz="1800" b="1" dirty="0">
                <a:solidFill>
                  <a:srgbClr val="FF0000"/>
                </a:solidFill>
              </a:rPr>
              <a:t>Detection Strategies </a:t>
            </a:r>
            <a:r>
              <a:rPr lang="en-US" sz="1800" dirty="0"/>
              <a:t>for a profile a detection strategy is defined.</a:t>
            </a:r>
          </a:p>
          <a:p>
            <a:pPr>
              <a:spcBef>
                <a:spcPts val="300"/>
              </a:spcBef>
            </a:pPr>
            <a:r>
              <a:rPr lang="en-US" sz="1800" b="1" dirty="0">
                <a:solidFill>
                  <a:srgbClr val="FF0000"/>
                </a:solidFill>
              </a:rPr>
              <a:t>Machine Learning </a:t>
            </a:r>
            <a:r>
              <a:rPr lang="en-US" sz="1800" dirty="0"/>
              <a:t>is commonly used to detect outliers or anomalies.</a:t>
            </a:r>
          </a:p>
          <a:p>
            <a:pPr>
              <a:spcBef>
                <a:spcPts val="300"/>
              </a:spcBef>
            </a:pPr>
            <a:r>
              <a:rPr lang="en-US" sz="1800" b="1" dirty="0">
                <a:solidFill>
                  <a:srgbClr val="FF0000"/>
                </a:solidFill>
              </a:rPr>
              <a:t>Storage </a:t>
            </a:r>
            <a:r>
              <a:rPr lang="en-US" sz="1800" dirty="0"/>
              <a:t>some algorithms may relay on historical (aggregated) operational data to detect anomalies.</a:t>
            </a:r>
          </a:p>
          <a:p>
            <a:pPr>
              <a:spcBef>
                <a:spcPts val="300"/>
              </a:spcBef>
            </a:pPr>
            <a:r>
              <a:rPr lang="en-US" sz="1800" b="1" dirty="0">
                <a:solidFill>
                  <a:srgbClr val="FF0000"/>
                </a:solidFill>
              </a:rPr>
              <a:t>Alerting </a:t>
            </a:r>
            <a:r>
              <a:rPr lang="en-US" sz="1800" dirty="0"/>
              <a:t>consolidates analytical insights and notifies.</a:t>
            </a:r>
          </a:p>
          <a:p>
            <a:pPr>
              <a:spcBef>
                <a:spcPts val="300"/>
              </a:spcBef>
            </a:pPr>
            <a:r>
              <a:rPr lang="en-US" sz="1800" b="1" dirty="0">
                <a:solidFill>
                  <a:srgbClr val="FF0000"/>
                </a:solidFill>
              </a:rPr>
              <a:t>Postmortem </a:t>
            </a:r>
            <a:r>
              <a:rPr lang="en-US" sz="1800" dirty="0"/>
              <a:t>refines and stores the network anomaly and symptom labels into the Label Store.</a:t>
            </a:r>
          </a:p>
          <a:p>
            <a:pPr>
              <a:spcBef>
                <a:spcPts val="300"/>
              </a:spcBef>
            </a:pPr>
            <a:r>
              <a:rPr lang="en-US" sz="1800" b="1" dirty="0">
                <a:solidFill>
                  <a:srgbClr val="FF0000"/>
                </a:solidFill>
              </a:rPr>
              <a:t>Replaying </a:t>
            </a:r>
            <a:r>
              <a:rPr lang="en-US" sz="1800" dirty="0"/>
              <a:t>to validate refined anomaly and symptom labels, historical operational data is replayed.</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4853473" cy="1325563"/>
          </a:xfrm>
        </p:spPr>
        <p:txBody>
          <a:bodyPr>
            <a:normAutofit/>
          </a:bodyPr>
          <a:lstStyle/>
          <a:p>
            <a:r>
              <a:rPr lang="en-US" sz="2800" b="1" dirty="0"/>
              <a:t>Elements of the Architecture</a:t>
            </a:r>
            <a:br>
              <a:rPr lang="en-US" sz="3600" dirty="0"/>
            </a:br>
            <a:endParaRPr lang="en-US" sz="2700" dirty="0">
              <a:solidFill>
                <a:srgbClr val="FF0000"/>
              </a:solidFill>
            </a:endParaRPr>
          </a:p>
        </p:txBody>
      </p:sp>
      <p:pic>
        <p:nvPicPr>
          <p:cNvPr id="4" name="Picture 3">
            <a:extLst>
              <a:ext uri="{FF2B5EF4-FFF2-40B4-BE49-F238E27FC236}">
                <a16:creationId xmlns:a16="http://schemas.microsoft.com/office/drawing/2014/main" id="{1EDE8EAA-7D7F-518E-A4DA-52FB92383941}"/>
              </a:ext>
            </a:extLst>
          </p:cNvPr>
          <p:cNvPicPr>
            <a:picLocks noChangeAspect="1"/>
          </p:cNvPicPr>
          <p:nvPr/>
        </p:nvPicPr>
        <p:blipFill>
          <a:blip r:embed="rId3"/>
          <a:stretch>
            <a:fillRect/>
          </a:stretch>
        </p:blipFill>
        <p:spPr>
          <a:xfrm>
            <a:off x="915854" y="1203552"/>
            <a:ext cx="4371594" cy="5523210"/>
          </a:xfrm>
          <a:prstGeom prst="rect">
            <a:avLst/>
          </a:prstGeom>
        </p:spPr>
      </p:pic>
    </p:spTree>
    <p:extLst>
      <p:ext uri="{BB962C8B-B14F-4D97-AF65-F5344CB8AC3E}">
        <p14:creationId xmlns:p14="http://schemas.microsoft.com/office/powerpoint/2010/main" val="26842728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198" y="1484344"/>
            <a:ext cx="4373880" cy="456926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symptom-semantic-metadata</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ympto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vent-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escription?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tart-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nd-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fidence-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cern-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ags* [ke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key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value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patter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dro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rop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pik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pike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mean-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mean-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easonality-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easonality-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tren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rend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oth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other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typ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huma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human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lgorith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lgorithm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name?              string</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193410" y="1929384"/>
            <a:ext cx="5229402" cy="3557849"/>
          </a:xfrm>
        </p:spPr>
        <p:txBody>
          <a:bodyPr>
            <a:noAutofit/>
          </a:bodyPr>
          <a:lstStyle/>
          <a:p>
            <a:r>
              <a:rPr lang="en-US" sz="2000" b="1" dirty="0">
                <a:solidFill>
                  <a:srgbClr val="FF0000"/>
                </a:solidFill>
              </a:rPr>
              <a:t>Symptom ID and description </a:t>
            </a:r>
            <a:r>
              <a:rPr lang="en-US" sz="2000" dirty="0"/>
              <a:t>uniquely identifies the detected anomaly. </a:t>
            </a:r>
            <a:r>
              <a:rPr lang="en-US" sz="2000" b="1" dirty="0">
                <a:solidFill>
                  <a:srgbClr val="FF0000"/>
                </a:solidFill>
              </a:rPr>
              <a:t>Event ID, start/end-time and confidence/concern-score </a:t>
            </a:r>
            <a:r>
              <a:rPr lang="en-US" sz="2000" dirty="0"/>
              <a:t>uniquely identifies the network event with its start and end time, how confident the system identified the anomaly and how concerned an operator should be.</a:t>
            </a:r>
            <a:endParaRPr lang="en-US" sz="2000" b="1" dirty="0">
              <a:solidFill>
                <a:srgbClr val="FF0000"/>
              </a:solidFill>
            </a:endParaRPr>
          </a:p>
          <a:p>
            <a:r>
              <a:rPr lang="en-US" sz="2000" b="1" dirty="0">
                <a:solidFill>
                  <a:srgbClr val="FF0000"/>
                </a:solidFill>
              </a:rPr>
              <a:t>Tags </a:t>
            </a:r>
            <a:r>
              <a:rPr lang="en-US" sz="2000" dirty="0"/>
              <a:t>allows to add customer information.</a:t>
            </a:r>
          </a:p>
          <a:p>
            <a:r>
              <a:rPr lang="en-US" sz="2000" b="1" dirty="0">
                <a:solidFill>
                  <a:srgbClr val="FF0000"/>
                </a:solidFill>
              </a:rPr>
              <a:t>Pattern </a:t>
            </a:r>
            <a:r>
              <a:rPr lang="en-US" sz="2000" dirty="0"/>
              <a:t>describes the identified pattern of the anomaly. </a:t>
            </a:r>
          </a:p>
          <a:p>
            <a:r>
              <a:rPr lang="en-US" sz="2000" b="1" dirty="0">
                <a:solidFill>
                  <a:srgbClr val="FF0000"/>
                </a:solidFill>
              </a:rPr>
              <a:t>Annotator Name, Type, </a:t>
            </a:r>
            <a:r>
              <a:rPr lang="en-US" sz="2000" dirty="0"/>
              <a:t>describes wherever the anomaly was detected by a human or algorithm and uniquely identifies the system who/which detected.</a:t>
            </a:r>
          </a:p>
          <a:p>
            <a:endParaRPr lang="en-US" sz="2000" dirty="0"/>
          </a:p>
        </p:txBody>
      </p:sp>
      <p:sp>
        <p:nvSpPr>
          <p:cNvPr id="19" name="Rectangle 18">
            <a:extLst>
              <a:ext uri="{FF2B5EF4-FFF2-40B4-BE49-F238E27FC236}">
                <a16:creationId xmlns:a16="http://schemas.microsoft.com/office/drawing/2014/main" id="{B0AC9776-B227-44FD-A2AC-1FDE0B6F1445}"/>
              </a:ext>
            </a:extLst>
          </p:cNvPr>
          <p:cNvSpPr/>
          <p:nvPr/>
        </p:nvSpPr>
        <p:spPr>
          <a:xfrm>
            <a:off x="806550" y="1791478"/>
            <a:ext cx="4182687" cy="964841"/>
          </a:xfrm>
          <a:prstGeom prst="rect">
            <a:avLst/>
          </a:prstGeom>
          <a:solidFill>
            <a:schemeClr val="accent6">
              <a:alpha val="10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2" name="Straight Connector 21">
            <a:extLst>
              <a:ext uri="{FF2B5EF4-FFF2-40B4-BE49-F238E27FC236}">
                <a16:creationId xmlns:a16="http://schemas.microsoft.com/office/drawing/2014/main" id="{5EE7A184-4440-4663-A713-45C43FB41FBD}"/>
              </a:ext>
            </a:extLst>
          </p:cNvPr>
          <p:cNvCxnSpPr>
            <a:cxnSpLocks/>
          </p:cNvCxnSpPr>
          <p:nvPr/>
        </p:nvCxnSpPr>
        <p:spPr>
          <a:xfrm>
            <a:off x="4989235" y="2028576"/>
            <a:ext cx="1204175" cy="64175"/>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Semantic Metadata Annotation for Network Anomaly Detection</a:t>
            </a:r>
            <a:br>
              <a:rPr lang="en-US" sz="3600" dirty="0"/>
            </a:br>
            <a:r>
              <a:rPr lang="en-US" sz="2700" dirty="0">
                <a:solidFill>
                  <a:schemeClr val="bg2">
                    <a:lumMod val="75000"/>
                  </a:schemeClr>
                </a:solidFill>
              </a:rPr>
              <a:t>draft-</a:t>
            </a:r>
            <a:r>
              <a:rPr lang="en-US" sz="2700" dirty="0" err="1">
                <a:solidFill>
                  <a:schemeClr val="bg2">
                    <a:lumMod val="75000"/>
                  </a:schemeClr>
                </a:solidFill>
              </a:rPr>
              <a:t>netana</a:t>
            </a:r>
            <a:r>
              <a:rPr lang="en-US" sz="2700" dirty="0">
                <a:solidFill>
                  <a:schemeClr val="bg2">
                    <a:lumMod val="75000"/>
                  </a:schemeClr>
                </a:solidFill>
              </a:rPr>
              <a:t>-</a:t>
            </a:r>
            <a:r>
              <a:rPr lang="en-US" sz="2700" dirty="0" err="1">
                <a:solidFill>
                  <a:schemeClr val="bg2">
                    <a:lumMod val="75000"/>
                  </a:schemeClr>
                </a:solidFill>
              </a:rPr>
              <a:t>nmop</a:t>
            </a:r>
            <a:r>
              <a:rPr lang="en-US" sz="2700" dirty="0">
                <a:solidFill>
                  <a:schemeClr val="bg2">
                    <a:lumMod val="75000"/>
                  </a:schemeClr>
                </a:solidFill>
              </a:rPr>
              <a:t>-network-anomaly-semantics</a:t>
            </a:r>
            <a:endParaRPr lang="en-US" sz="2700" dirty="0">
              <a:solidFill>
                <a:srgbClr val="FF0000"/>
              </a:solidFill>
            </a:endParaRPr>
          </a:p>
        </p:txBody>
      </p:sp>
      <p:sp>
        <p:nvSpPr>
          <p:cNvPr id="7" name="Rectangle 6">
            <a:extLst>
              <a:ext uri="{FF2B5EF4-FFF2-40B4-BE49-F238E27FC236}">
                <a16:creationId xmlns:a16="http://schemas.microsoft.com/office/drawing/2014/main" id="{E751AA3A-A181-4E76-CC75-041686EB2C20}"/>
              </a:ext>
            </a:extLst>
          </p:cNvPr>
          <p:cNvSpPr/>
          <p:nvPr/>
        </p:nvSpPr>
        <p:spPr>
          <a:xfrm>
            <a:off x="806548" y="2756320"/>
            <a:ext cx="4182687" cy="455649"/>
          </a:xfrm>
          <a:prstGeom prst="rect">
            <a:avLst/>
          </a:prstGeom>
          <a:solidFill>
            <a:schemeClr val="accent4">
              <a:alpha val="1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13" name="Straight Connector 12">
            <a:extLst>
              <a:ext uri="{FF2B5EF4-FFF2-40B4-BE49-F238E27FC236}">
                <a16:creationId xmlns:a16="http://schemas.microsoft.com/office/drawing/2014/main" id="{ABDEEB90-F9DE-4579-466A-4391823DABF7}"/>
              </a:ext>
            </a:extLst>
          </p:cNvPr>
          <p:cNvCxnSpPr>
            <a:cxnSpLocks/>
          </p:cNvCxnSpPr>
          <p:nvPr/>
        </p:nvCxnSpPr>
        <p:spPr>
          <a:xfrm>
            <a:off x="5030740" y="2970860"/>
            <a:ext cx="1204175" cy="1199924"/>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1F53FB5C-08C3-503A-DD3F-DC336AED5134}"/>
              </a:ext>
            </a:extLst>
          </p:cNvPr>
          <p:cNvSpPr/>
          <p:nvPr/>
        </p:nvSpPr>
        <p:spPr>
          <a:xfrm>
            <a:off x="806547" y="3211970"/>
            <a:ext cx="4182687" cy="1756218"/>
          </a:xfrm>
          <a:prstGeom prst="rect">
            <a:avLst/>
          </a:prstGeom>
          <a:solidFill>
            <a:schemeClr val="accent2">
              <a:alpha val="10000"/>
            </a:schemeClr>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5" name="Rectangle 24">
            <a:extLst>
              <a:ext uri="{FF2B5EF4-FFF2-40B4-BE49-F238E27FC236}">
                <a16:creationId xmlns:a16="http://schemas.microsoft.com/office/drawing/2014/main" id="{69934E68-7859-6F55-01F2-D3CD39C036AD}"/>
              </a:ext>
            </a:extLst>
          </p:cNvPr>
          <p:cNvSpPr/>
          <p:nvPr/>
        </p:nvSpPr>
        <p:spPr>
          <a:xfrm>
            <a:off x="814800" y="4963594"/>
            <a:ext cx="4182687" cy="1007441"/>
          </a:xfrm>
          <a:prstGeom prst="rect">
            <a:avLst/>
          </a:prstGeom>
          <a:solidFill>
            <a:schemeClr val="accent1">
              <a:alpha val="10000"/>
            </a:schemeClr>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6" name="Straight Connector 25">
            <a:extLst>
              <a:ext uri="{FF2B5EF4-FFF2-40B4-BE49-F238E27FC236}">
                <a16:creationId xmlns:a16="http://schemas.microsoft.com/office/drawing/2014/main" id="{26AA4EF1-0515-5E5A-5D45-BE133079F190}"/>
              </a:ext>
            </a:extLst>
          </p:cNvPr>
          <p:cNvCxnSpPr>
            <a:cxnSpLocks/>
            <a:stCxn id="25" idx="3"/>
          </p:cNvCxnSpPr>
          <p:nvPr/>
        </p:nvCxnSpPr>
        <p:spPr>
          <a:xfrm flipV="1">
            <a:off x="4997487" y="5212260"/>
            <a:ext cx="1237428" cy="255055"/>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1F71D91-0AD5-1DD4-6BC3-A469C348859D}"/>
              </a:ext>
            </a:extLst>
          </p:cNvPr>
          <p:cNvCxnSpPr>
            <a:cxnSpLocks/>
            <a:stCxn id="24" idx="3"/>
          </p:cNvCxnSpPr>
          <p:nvPr/>
        </p:nvCxnSpPr>
        <p:spPr>
          <a:xfrm>
            <a:off x="4989234" y="4090079"/>
            <a:ext cx="1245681" cy="47145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08993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6" name="Google Shape;216;p8"/>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4</a:t>
            </a:fld>
            <a:endParaRPr sz="1400"/>
          </a:p>
        </p:txBody>
      </p:sp>
      <p:sp>
        <p:nvSpPr>
          <p:cNvPr id="217" name="Google Shape;217;p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dirty="0"/>
          </a:p>
        </p:txBody>
      </p:sp>
      <p:pic>
        <p:nvPicPr>
          <p:cNvPr id="218" name="Google Shape;218;p8"/>
          <p:cNvPicPr preferRelativeResize="0"/>
          <p:nvPr/>
        </p:nvPicPr>
        <p:blipFill rotWithShape="1">
          <a:blip r:embed="rId3">
            <a:alphaModFix/>
          </a:blip>
          <a:srcRect/>
          <a:stretch/>
        </p:blipFill>
        <p:spPr>
          <a:xfrm>
            <a:off x="444500" y="2556329"/>
            <a:ext cx="6958285" cy="3976164"/>
          </a:xfrm>
          <a:prstGeom prst="rect">
            <a:avLst/>
          </a:prstGeom>
          <a:noFill/>
          <a:ln>
            <a:noFill/>
          </a:ln>
        </p:spPr>
      </p:pic>
      <p:sp>
        <p:nvSpPr>
          <p:cNvPr id="219" name="Google Shape;219;p8"/>
          <p:cNvSpPr/>
          <p:nvPr/>
        </p:nvSpPr>
        <p:spPr>
          <a:xfrm>
            <a:off x="5717600" y="3813261"/>
            <a:ext cx="1479900" cy="509100"/>
          </a:xfrm>
          <a:prstGeom prst="ellipse">
            <a:avLst/>
          </a:prstGeom>
          <a:solidFill>
            <a:srgbClr val="FF0000">
              <a:alpha val="9803"/>
            </a:srgbClr>
          </a:solidFill>
          <a:ln w="12700"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0" name="Google Shape;220;p8"/>
          <p:cNvSpPr txBox="1"/>
          <p:nvPr/>
        </p:nvSpPr>
        <p:spPr>
          <a:xfrm>
            <a:off x="7556501" y="609600"/>
            <a:ext cx="4191000" cy="4415201"/>
          </a:xfrm>
          <a:prstGeom prst="rect">
            <a:avLst/>
          </a:prstGeom>
          <a:noFill/>
          <a:ln>
            <a:noFill/>
          </a:ln>
        </p:spPr>
        <p:txBody>
          <a:bodyPr spcFirstLastPara="1" wrap="square" lIns="0" tIns="0" rIns="0" bIns="0" anchor="t" anchorCtr="0">
            <a:noAutofit/>
          </a:bodyPr>
          <a:lstStyle/>
          <a:p>
            <a:pPr marL="0" marR="0" lvl="0" indent="0" algn="l" rtl="0">
              <a:lnSpc>
                <a:spcPct val="110000"/>
              </a:lnSpc>
              <a:spcBef>
                <a:spcPts val="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Detection:  </a:t>
            </a:r>
            <a:r>
              <a:rPr lang="en-US" sz="2000" b="0" i="0" u="none" strike="noStrike" cap="none" dirty="0">
                <a:solidFill>
                  <a:schemeClr val="dk1"/>
                </a:solidFill>
                <a:ea typeface="Calibri"/>
                <a:cs typeface="Calibri"/>
                <a:sym typeface="Calibri"/>
              </a:rPr>
              <a:t>The Network Anomaly Detection stage is about the continuous monitoring of the network through Network Telemetry [RFC9232] and the identification of symptom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Validation:  </a:t>
            </a:r>
            <a:r>
              <a:rPr lang="en-US" sz="2000" b="0" i="0" u="none" strike="noStrike" cap="none" dirty="0">
                <a:solidFill>
                  <a:schemeClr val="dk1"/>
                </a:solidFill>
                <a:ea typeface="Calibri"/>
                <a:cs typeface="Calibri"/>
                <a:sym typeface="Calibri"/>
              </a:rPr>
              <a:t>Decides if the detected symptoms are signaling a real incident or if they are to be treated as false positive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Refinement:  </a:t>
            </a:r>
            <a:r>
              <a:rPr lang="en-US" sz="2000" b="0" i="0" u="none" strike="noStrike" cap="none" dirty="0">
                <a:solidFill>
                  <a:schemeClr val="dk1"/>
                </a:solidFill>
                <a:ea typeface="Calibri"/>
                <a:cs typeface="Calibri"/>
                <a:sym typeface="Calibri"/>
              </a:rPr>
              <a:t>Network operator performs detailed postmortem analysis of the network incident, collected Network Telemetry data and detected anomaly with the objective to identify useful adjustments in the Network Telemetry data collection and Anomaly Detection system.</a:t>
            </a:r>
            <a:endParaRPr dirty="0"/>
          </a:p>
        </p:txBody>
      </p:sp>
      <p:sp>
        <p:nvSpPr>
          <p:cNvPr id="221" name="Google Shape;221;p8"/>
          <p:cNvSpPr txBox="1"/>
          <p:nvPr/>
        </p:nvSpPr>
        <p:spPr>
          <a:xfrm>
            <a:off x="1106650" y="1568050"/>
            <a:ext cx="5424000" cy="800400"/>
          </a:xfrm>
          <a:prstGeom prst="rect">
            <a:avLst/>
          </a:prstGeom>
          <a:solidFill>
            <a:schemeClr val="lt2"/>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2000" b="1" dirty="0"/>
              <a:t>«</a:t>
            </a:r>
            <a:r>
              <a:rPr lang="en-US" sz="2000" b="1" dirty="0">
                <a:solidFill>
                  <a:schemeClr val="dk1"/>
                </a:solidFill>
                <a:ea typeface="Calibri"/>
                <a:cs typeface="Calibri"/>
                <a:sym typeface="Calibri"/>
              </a:rPr>
              <a:t> Network Anomaly Detection is an iterative process that requires continuous improvement </a:t>
            </a:r>
            <a:r>
              <a:rPr lang="de-CH" sz="2000" b="1" dirty="0"/>
              <a:t>»</a:t>
            </a:r>
            <a:endParaRPr sz="2000" b="1" dirty="0">
              <a:solidFill>
                <a:schemeClr val="dk1"/>
              </a:solidFill>
              <a:ea typeface="Calibri"/>
              <a:cs typeface="Calibri"/>
              <a:sym typeface="Calibri"/>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26" name="Google Shape;226;p9"/>
          <p:cNvSpPr txBox="1"/>
          <p:nvPr/>
        </p:nvSpPr>
        <p:spPr>
          <a:xfrm>
            <a:off x="838198" y="1484344"/>
            <a:ext cx="4373880" cy="2329677"/>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module: ietf-network-anomaly-metadata</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ies</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y* [id versio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id             yang:uuid</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version        uint32</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description?   string</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tate          identityref</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annotator</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annotator-type)</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huma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  +--rw human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algorithm)</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rw algorithm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name?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s* [symptom_id]</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_id    yang:uuid</a:t>
            </a:r>
            <a:endParaRPr sz="850" b="0" i="0" u="none" strike="noStrike" cap="none">
              <a:solidFill>
                <a:schemeClr val="dk1"/>
              </a:solidFill>
              <a:latin typeface="Courier New"/>
              <a:ea typeface="Courier New"/>
              <a:cs typeface="Courier New"/>
              <a:sym typeface="Courier New"/>
            </a:endParaRPr>
          </a:p>
        </p:txBody>
      </p:sp>
      <p:sp>
        <p:nvSpPr>
          <p:cNvPr id="227" name="Google Shape;227;p9"/>
          <p:cNvSpPr txBox="1">
            <a:spLocks noGrp="1"/>
          </p:cNvSpPr>
          <p:nvPr>
            <p:ph type="body" idx="1"/>
          </p:nvPr>
        </p:nvSpPr>
        <p:spPr>
          <a:xfrm>
            <a:off x="6193410" y="1929384"/>
            <a:ext cx="5229402" cy="3823716"/>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rgbClr val="FF0000"/>
              </a:buClr>
              <a:buSzPts val="2000"/>
              <a:buChar char="•"/>
            </a:pPr>
            <a:r>
              <a:rPr lang="en-US" sz="2000" b="1" dirty="0">
                <a:solidFill>
                  <a:srgbClr val="FF0000"/>
                </a:solidFill>
              </a:rPr>
              <a:t>ID and Description</a:t>
            </a:r>
            <a:r>
              <a:rPr lang="en-US" sz="2000" dirty="0"/>
              <a:t> uniquely identifies the detected network anomaly (as a container of symptoms).</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Description and State </a:t>
            </a:r>
            <a:r>
              <a:rPr lang="en-US" sz="2000" dirty="0"/>
              <a:t>provide general information regarding the anomaly and .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Annotator </a:t>
            </a:r>
            <a:r>
              <a:rPr lang="en-US" sz="2000" dirty="0"/>
              <a:t>describes the entity that observed the network anomaly: this can be a human or an algorithm (anomaly detection system).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Symptoms </a:t>
            </a:r>
            <a:r>
              <a:rPr lang="en-US" sz="2000" dirty="0"/>
              <a:t>provides a list of symptoms (based on </a:t>
            </a:r>
            <a:r>
              <a:rPr lang="en-US" sz="2000" dirty="0" err="1"/>
              <a:t>ietf</a:t>
            </a:r>
            <a:r>
              <a:rPr lang="en-US" sz="2000" dirty="0"/>
              <a:t>-symptom-metadata) that are part of this network anomaly.</a:t>
            </a:r>
            <a:endParaRPr dirty="0"/>
          </a:p>
        </p:txBody>
      </p:sp>
      <p:sp>
        <p:nvSpPr>
          <p:cNvPr id="228" name="Google Shape;228;p9"/>
          <p:cNvSpPr/>
          <p:nvPr/>
        </p:nvSpPr>
        <p:spPr>
          <a:xfrm>
            <a:off x="1063625" y="1810474"/>
            <a:ext cx="3038400" cy="416400"/>
          </a:xfrm>
          <a:prstGeom prst="rect">
            <a:avLst/>
          </a:prstGeom>
          <a:solidFill>
            <a:schemeClr val="accent6">
              <a:alpha val="9803"/>
            </a:schemeClr>
          </a:solidFill>
          <a:ln w="25400"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29" name="Google Shape;229;p9"/>
          <p:cNvCxnSpPr>
            <a:stCxn id="228" idx="3"/>
          </p:cNvCxnSpPr>
          <p:nvPr/>
        </p:nvCxnSpPr>
        <p:spPr>
          <a:xfrm>
            <a:off x="4102025" y="2018674"/>
            <a:ext cx="2091300" cy="90300"/>
          </a:xfrm>
          <a:prstGeom prst="straightConnector1">
            <a:avLst/>
          </a:prstGeom>
          <a:noFill/>
          <a:ln w="25400" cap="flat" cmpd="sng">
            <a:solidFill>
              <a:schemeClr val="accent6"/>
            </a:solidFill>
            <a:prstDash val="solid"/>
            <a:miter lim="800000"/>
            <a:headEnd type="none" w="sm" len="sm"/>
            <a:tailEnd type="none" w="sm" len="sm"/>
          </a:ln>
        </p:spPr>
      </p:cxnSp>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5</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sz="2700" dirty="0">
              <a:solidFill>
                <a:srgbClr val="FF0000"/>
              </a:solidFill>
            </a:endParaRPr>
          </a:p>
        </p:txBody>
      </p:sp>
      <p:sp>
        <p:nvSpPr>
          <p:cNvPr id="232" name="Google Shape;232;p9"/>
          <p:cNvSpPr/>
          <p:nvPr/>
        </p:nvSpPr>
        <p:spPr>
          <a:xfrm>
            <a:off x="1063625" y="2506394"/>
            <a:ext cx="3038475" cy="955944"/>
          </a:xfrm>
          <a:prstGeom prst="rect">
            <a:avLst/>
          </a:prstGeom>
          <a:solidFill>
            <a:schemeClr val="accent4">
              <a:alpha val="9803"/>
            </a:schemeClr>
          </a:solidFill>
          <a:ln w="254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3" name="Google Shape;233;p9"/>
          <p:cNvCxnSpPr>
            <a:stCxn id="232" idx="3"/>
          </p:cNvCxnSpPr>
          <p:nvPr/>
        </p:nvCxnSpPr>
        <p:spPr>
          <a:xfrm>
            <a:off x="4102100" y="2984366"/>
            <a:ext cx="1993800" cy="716700"/>
          </a:xfrm>
          <a:prstGeom prst="straightConnector1">
            <a:avLst/>
          </a:prstGeom>
          <a:noFill/>
          <a:ln w="25400" cap="flat" cmpd="sng">
            <a:solidFill>
              <a:schemeClr val="accent4"/>
            </a:solidFill>
            <a:prstDash val="solid"/>
            <a:miter lim="800000"/>
            <a:headEnd type="none" w="sm" len="sm"/>
            <a:tailEnd type="none" w="sm" len="sm"/>
          </a:ln>
        </p:spPr>
      </p:cxnSp>
      <p:sp>
        <p:nvSpPr>
          <p:cNvPr id="234" name="Google Shape;234;p9"/>
          <p:cNvSpPr/>
          <p:nvPr/>
        </p:nvSpPr>
        <p:spPr>
          <a:xfrm>
            <a:off x="1063625" y="3480070"/>
            <a:ext cx="3038475" cy="287068"/>
          </a:xfrm>
          <a:prstGeom prst="rect">
            <a:avLst/>
          </a:prstGeom>
          <a:solidFill>
            <a:schemeClr val="accent2">
              <a:alpha val="9803"/>
            </a:schemeClr>
          </a:solidFill>
          <a:ln w="254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5" name="Google Shape;235;p9"/>
          <p:cNvSpPr/>
          <p:nvPr/>
        </p:nvSpPr>
        <p:spPr>
          <a:xfrm>
            <a:off x="1063625" y="2253473"/>
            <a:ext cx="3038400" cy="241200"/>
          </a:xfrm>
          <a:prstGeom prst="rect">
            <a:avLst/>
          </a:prstGeom>
          <a:solidFill>
            <a:schemeClr val="accent1">
              <a:alpha val="9803"/>
            </a:schemeClr>
          </a:solidFill>
          <a:ln w="254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6" name="Google Shape;236;p9"/>
          <p:cNvCxnSpPr>
            <a:stCxn id="235" idx="3"/>
          </p:cNvCxnSpPr>
          <p:nvPr/>
        </p:nvCxnSpPr>
        <p:spPr>
          <a:xfrm>
            <a:off x="4102025" y="2374073"/>
            <a:ext cx="2091300" cy="402600"/>
          </a:xfrm>
          <a:prstGeom prst="straightConnector1">
            <a:avLst/>
          </a:prstGeom>
          <a:noFill/>
          <a:ln w="25400" cap="flat" cmpd="sng">
            <a:solidFill>
              <a:schemeClr val="accent5"/>
            </a:solidFill>
            <a:prstDash val="solid"/>
            <a:miter lim="800000"/>
            <a:headEnd type="none" w="sm" len="sm"/>
            <a:tailEnd type="none" w="sm" len="sm"/>
          </a:ln>
        </p:spPr>
      </p:cxnSp>
      <p:cxnSp>
        <p:nvCxnSpPr>
          <p:cNvPr id="237" name="Google Shape;237;p9"/>
          <p:cNvCxnSpPr>
            <a:stCxn id="234" idx="3"/>
          </p:cNvCxnSpPr>
          <p:nvPr/>
        </p:nvCxnSpPr>
        <p:spPr>
          <a:xfrm>
            <a:off x="4102100" y="3623604"/>
            <a:ext cx="2091300" cy="1082100"/>
          </a:xfrm>
          <a:prstGeom prst="straightConnector1">
            <a:avLst/>
          </a:prstGeom>
          <a:noFill/>
          <a:ln w="25400" cap="flat" cmpd="sng">
            <a:solidFill>
              <a:schemeClr val="accent2"/>
            </a:solidFill>
            <a:prstDash val="solid"/>
            <a:miter lim="800000"/>
            <a:headEnd type="none" w="sm" len="sm"/>
            <a:tailEnd type="none" w="sm" len="sm"/>
          </a:ln>
        </p:spPr>
      </p:cxn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pic>
        <p:nvPicPr>
          <p:cNvPr id="16" name="Google Shape;61;p14">
            <a:extLst>
              <a:ext uri="{FF2B5EF4-FFF2-40B4-BE49-F238E27FC236}">
                <a16:creationId xmlns:a16="http://schemas.microsoft.com/office/drawing/2014/main" id="{11EE96AC-5C86-4373-8061-8F05BF9469E3}"/>
              </a:ext>
            </a:extLst>
          </p:cNvPr>
          <p:cNvPicPr preferRelativeResize="0"/>
          <p:nvPr/>
        </p:nvPicPr>
        <p:blipFill>
          <a:blip r:embed="rId3">
            <a:alphaModFix/>
          </a:blip>
          <a:stretch>
            <a:fillRect/>
          </a:stretch>
        </p:blipFill>
        <p:spPr>
          <a:xfrm>
            <a:off x="6232998" y="800922"/>
            <a:ext cx="5712108" cy="5371240"/>
          </a:xfrm>
          <a:prstGeom prst="rect">
            <a:avLst/>
          </a:prstGeom>
          <a:noFill/>
          <a:ln>
            <a:noFill/>
          </a:ln>
        </p:spPr>
      </p:pic>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sz="2700" dirty="0">
              <a:solidFill>
                <a:srgbClr val="FF0000"/>
              </a:solidFill>
            </a:endParaRPr>
          </a:p>
        </p:txBody>
      </p:sp>
      <p:sp>
        <p:nvSpPr>
          <p:cNvPr id="17" name="Google Shape;62;p14">
            <a:extLst>
              <a:ext uri="{FF2B5EF4-FFF2-40B4-BE49-F238E27FC236}">
                <a16:creationId xmlns:a16="http://schemas.microsoft.com/office/drawing/2014/main" id="{D6F50D41-1098-4519-A51A-5D7ED1F8403D}"/>
              </a:ext>
            </a:extLst>
          </p:cNvPr>
          <p:cNvSpPr txBox="1"/>
          <p:nvPr/>
        </p:nvSpPr>
        <p:spPr>
          <a:xfrm>
            <a:off x="460092" y="1585089"/>
            <a:ext cx="7080593" cy="1082792"/>
          </a:xfrm>
          <a:prstGeom prst="rect">
            <a:avLst/>
          </a:prstGeom>
          <a:solidFill>
            <a:schemeClr val="lt2"/>
          </a:solidFill>
          <a:ln>
            <a:noFill/>
          </a:ln>
        </p:spPr>
        <p:txBody>
          <a:bodyPr spcFirstLastPara="1" wrap="square" lIns="108000" tIns="0" rIns="108000" bIns="0" anchor="t" anchorCtr="0">
            <a:spAutoFit/>
          </a:bodyPr>
          <a:lstStyle/>
          <a:p>
            <a:pPr marL="0" lvl="0" indent="0" algn="l" rtl="0">
              <a:spcBef>
                <a:spcPts val="1200"/>
              </a:spcBef>
              <a:spcAft>
                <a:spcPts val="1200"/>
              </a:spcAft>
              <a:buNone/>
            </a:pPr>
            <a:r>
              <a:rPr lang="it" sz="1600" b="1" dirty="0"/>
              <a:t>Network Anomaly Detection</a:t>
            </a:r>
            <a:r>
              <a:rPr lang="it" sz="1600" dirty="0"/>
              <a:t> is the art of understanding when something is not working as expected in the network.</a:t>
            </a:r>
            <a:br>
              <a:rPr lang="it" sz="1600" dirty="0"/>
            </a:br>
            <a:r>
              <a:rPr lang="it" sz="1600" dirty="0"/>
              <a:t>It is an </a:t>
            </a:r>
            <a:r>
              <a:rPr lang="it" sz="1600" b="1" dirty="0"/>
              <a:t>iterative process</a:t>
            </a:r>
            <a:r>
              <a:rPr lang="it" sz="1600" dirty="0"/>
              <a:t> that requires </a:t>
            </a:r>
            <a:r>
              <a:rPr lang="it" sz="1600" b="1" dirty="0"/>
              <a:t>continuous improvement</a:t>
            </a:r>
            <a:endParaRPr sz="1100" dirty="0"/>
          </a:p>
        </p:txBody>
      </p:sp>
      <p:sp>
        <p:nvSpPr>
          <p:cNvPr id="18" name="Google Shape;63;p14">
            <a:extLst>
              <a:ext uri="{FF2B5EF4-FFF2-40B4-BE49-F238E27FC236}">
                <a16:creationId xmlns:a16="http://schemas.microsoft.com/office/drawing/2014/main" id="{BF132B26-A5BB-48B2-B863-A3EC5ABAA52E}"/>
              </a:ext>
            </a:extLst>
          </p:cNvPr>
          <p:cNvSpPr txBox="1"/>
          <p:nvPr/>
        </p:nvSpPr>
        <p:spPr>
          <a:xfrm>
            <a:off x="466718" y="4602913"/>
            <a:ext cx="5417245" cy="2062073"/>
          </a:xfrm>
          <a:prstGeom prst="rect">
            <a:avLst/>
          </a:prstGeom>
          <a:solidFill>
            <a:schemeClr val="lt2"/>
          </a:solidFill>
          <a:ln>
            <a:noFill/>
          </a:ln>
        </p:spPr>
        <p:txBody>
          <a:bodyPr spcFirstLastPara="1" wrap="square" lIns="108000" tIns="0" rIns="108000" bIns="0" anchor="t" anchorCtr="0">
            <a:spAutoFit/>
          </a:bodyPr>
          <a:lstStyle>
            <a:defPPr>
              <a:defRPr lang="de-DE"/>
            </a:defPPr>
            <a:lvl1pPr lvl="0" indent="0">
              <a:spcBef>
                <a:spcPts val="1200"/>
              </a:spcBef>
              <a:spcAft>
                <a:spcPts val="1200"/>
              </a:spcAft>
              <a:buNone/>
              <a:defRPr sz="1600" b="1">
                <a:solidFill>
                  <a:schemeClr val="dk2"/>
                </a:solidFill>
              </a:defRPr>
            </a:lvl1pPr>
          </a:lstStyle>
          <a:p>
            <a:r>
              <a:rPr lang="it" b="0" dirty="0">
                <a:solidFill>
                  <a:schemeClr val="tx1"/>
                </a:solidFill>
              </a:rPr>
              <a:t>It is crucial to make sure we can </a:t>
            </a:r>
            <a:r>
              <a:rPr lang="it" dirty="0">
                <a:solidFill>
                  <a:schemeClr val="tx1"/>
                </a:solidFill>
              </a:rPr>
              <a:t>audit the process</a:t>
            </a:r>
            <a:r>
              <a:rPr lang="it" b="0" dirty="0">
                <a:solidFill>
                  <a:schemeClr val="tx1"/>
                </a:solidFill>
              </a:rPr>
              <a:t> e2e and </a:t>
            </a:r>
            <a:r>
              <a:rPr lang="it" dirty="0">
                <a:solidFill>
                  <a:schemeClr val="tx1"/>
                </a:solidFill>
              </a:rPr>
              <a:t>involve network engineers</a:t>
            </a:r>
            <a:r>
              <a:rPr lang="it" b="0" dirty="0">
                <a:solidFill>
                  <a:schemeClr val="tx1"/>
                </a:solidFill>
              </a:rPr>
              <a:t> at any stage of the process to validate and </a:t>
            </a:r>
            <a:endParaRPr b="0" dirty="0">
              <a:solidFill>
                <a:schemeClr val="tx1"/>
              </a:solidFill>
            </a:endParaRPr>
          </a:p>
          <a:p>
            <a:r>
              <a:rPr lang="it" dirty="0">
                <a:solidFill>
                  <a:schemeClr val="tx1"/>
                </a:solidFill>
              </a:rPr>
              <a:t>→ Interoperability between teams and between “annotators” is key</a:t>
            </a:r>
            <a:endParaRPr dirty="0">
              <a:solidFill>
                <a:schemeClr val="tx1"/>
              </a:solidFill>
            </a:endParaRPr>
          </a:p>
        </p:txBody>
      </p:sp>
      <p:sp>
        <p:nvSpPr>
          <p:cNvPr id="19" name="Google Shape;64;p14">
            <a:extLst>
              <a:ext uri="{FF2B5EF4-FFF2-40B4-BE49-F238E27FC236}">
                <a16:creationId xmlns:a16="http://schemas.microsoft.com/office/drawing/2014/main" id="{20806789-CF08-4D72-B002-29998108245D}"/>
              </a:ext>
            </a:extLst>
          </p:cNvPr>
          <p:cNvSpPr txBox="1"/>
          <p:nvPr/>
        </p:nvSpPr>
        <p:spPr>
          <a:xfrm>
            <a:off x="466719" y="2845566"/>
            <a:ext cx="5417246" cy="1600438"/>
          </a:xfrm>
          <a:prstGeom prst="rect">
            <a:avLst/>
          </a:prstGeom>
          <a:solidFill>
            <a:schemeClr val="lt2"/>
          </a:solidFill>
          <a:ln>
            <a:noFill/>
          </a:ln>
        </p:spPr>
        <p:txBody>
          <a:bodyPr spcFirstLastPara="1" wrap="square" lIns="108000" tIns="0" rIns="108000" bIns="0" anchor="t" anchorCtr="0">
            <a:spAutoFit/>
          </a:bodyPr>
          <a:lstStyle>
            <a:defPPr>
              <a:defRPr lang="de-DE"/>
            </a:defPPr>
            <a:lvl1pPr lvl="0" indent="0">
              <a:spcBef>
                <a:spcPts val="1200"/>
              </a:spcBef>
              <a:spcAft>
                <a:spcPts val="1200"/>
              </a:spcAft>
              <a:buNone/>
              <a:defRPr sz="1600" b="1">
                <a:solidFill>
                  <a:schemeClr val="dk2"/>
                </a:solidFill>
              </a:defRPr>
            </a:lvl1pPr>
          </a:lstStyle>
          <a:p>
            <a:r>
              <a:rPr lang="it" b="0" dirty="0">
                <a:solidFill>
                  <a:schemeClr val="tx1"/>
                </a:solidFill>
              </a:rPr>
              <a:t>The detection in the different stages can either come from humans (network operation engineers) or algorithms (e.g. rule-based, AI-based).</a:t>
            </a:r>
            <a:endParaRPr b="0" dirty="0">
              <a:solidFill>
                <a:schemeClr val="tx1"/>
              </a:solidFill>
            </a:endParaRPr>
          </a:p>
          <a:p>
            <a:r>
              <a:rPr lang="it" dirty="0">
                <a:solidFill>
                  <a:schemeClr val="tx1"/>
                </a:solidFill>
              </a:rPr>
              <a:t>→ Having labels structured well is key</a:t>
            </a:r>
            <a:endParaRPr dirty="0">
              <a:solidFill>
                <a:schemeClr val="tx1"/>
              </a:solidFill>
            </a:endParaRPr>
          </a:p>
        </p:txBody>
      </p:sp>
      <p:sp>
        <p:nvSpPr>
          <p:cNvPr id="20" name="Google Shape;65;p14">
            <a:extLst>
              <a:ext uri="{FF2B5EF4-FFF2-40B4-BE49-F238E27FC236}">
                <a16:creationId xmlns:a16="http://schemas.microsoft.com/office/drawing/2014/main" id="{ABC064B0-D662-40B5-920A-27C461D0D74C}"/>
              </a:ext>
            </a:extLst>
          </p:cNvPr>
          <p:cNvSpPr txBox="1"/>
          <p:nvPr/>
        </p:nvSpPr>
        <p:spPr>
          <a:xfrm>
            <a:off x="236955" y="6256925"/>
            <a:ext cx="5112600" cy="4719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200"/>
              </a:spcBef>
              <a:spcAft>
                <a:spcPts val="1200"/>
              </a:spcAft>
              <a:buNone/>
            </a:pPr>
            <a:r>
              <a:rPr lang="it" sz="1100" b="1" dirty="0"/>
              <a:t>“annotator”  = entity that produces the label - either human or algorithm</a:t>
            </a:r>
            <a:endParaRPr dirty="0"/>
          </a:p>
        </p:txBody>
      </p:sp>
      <p:sp>
        <p:nvSpPr>
          <p:cNvPr id="21" name="Google Shape;66;p14">
            <a:extLst>
              <a:ext uri="{FF2B5EF4-FFF2-40B4-BE49-F238E27FC236}">
                <a16:creationId xmlns:a16="http://schemas.microsoft.com/office/drawing/2014/main" id="{91B4487A-C242-4009-8595-0F8F7C2913C9}"/>
              </a:ext>
            </a:extLst>
          </p:cNvPr>
          <p:cNvSpPr/>
          <p:nvPr/>
        </p:nvSpPr>
        <p:spPr>
          <a:xfrm>
            <a:off x="6232998" y="6279961"/>
            <a:ext cx="5425602" cy="4719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it" sz="1200" b="1" dirty="0"/>
              <a:t>Identified three main stages of the life cycle</a:t>
            </a:r>
            <a:endParaRPr sz="1200" b="1" dirty="0"/>
          </a:p>
        </p:txBody>
      </p:sp>
    </p:spTree>
    <p:extLst>
      <p:ext uri="{BB962C8B-B14F-4D97-AF65-F5344CB8AC3E}">
        <p14:creationId xmlns:p14="http://schemas.microsoft.com/office/powerpoint/2010/main" val="3921494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7</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3600" dirty="0"/>
            </a:br>
            <a:r>
              <a:rPr lang="en-US" sz="2800" u="sng" dirty="0">
                <a:solidFill>
                  <a:srgbClr val="ACABAB"/>
                </a:solidFill>
              </a:rPr>
              <a:t>an</a:t>
            </a:r>
            <a:r>
              <a:rPr lang="en-US" sz="2800" dirty="0">
                <a:solidFill>
                  <a:srgbClr val="ACABAB"/>
                </a:solidFill>
              </a:rPr>
              <a:t>omaly </a:t>
            </a:r>
            <a:r>
              <a:rPr lang="en-US" sz="2800" u="sng" dirty="0">
                <a:solidFill>
                  <a:srgbClr val="ACABAB"/>
                </a:solidFill>
              </a:rPr>
              <a:t>tag</a:t>
            </a:r>
            <a:r>
              <a:rPr lang="en-US" sz="2800" dirty="0">
                <a:solidFill>
                  <a:srgbClr val="ACABAB"/>
                </a:solidFill>
              </a:rPr>
              <a:t>ging </a:t>
            </a:r>
            <a:r>
              <a:rPr lang="en-US" sz="2800" u="sng" dirty="0">
                <a:solidFill>
                  <a:srgbClr val="ACABAB"/>
                </a:solidFill>
              </a:rPr>
              <a:t>on</a:t>
            </a:r>
            <a:r>
              <a:rPr lang="en-US" sz="2800" dirty="0">
                <a:solidFill>
                  <a:srgbClr val="ACABAB"/>
                </a:solidFill>
              </a:rPr>
              <a:t> h</a:t>
            </a:r>
            <a:r>
              <a:rPr lang="en-US" sz="2800" u="sng" dirty="0">
                <a:solidFill>
                  <a:srgbClr val="ACABAB"/>
                </a:solidFill>
              </a:rPr>
              <a:t>ist</a:t>
            </a:r>
            <a:r>
              <a:rPr lang="en-US" sz="2800" dirty="0">
                <a:solidFill>
                  <a:srgbClr val="ACABAB"/>
                </a:solidFill>
              </a:rPr>
              <a:t>orical data</a:t>
            </a:r>
            <a:endParaRPr sz="2700" dirty="0">
              <a:solidFill>
                <a:srgbClr val="FF0000"/>
              </a:solidFill>
            </a:endParaRPr>
          </a:p>
        </p:txBody>
      </p:sp>
      <p:pic>
        <p:nvPicPr>
          <p:cNvPr id="4" name="Google Shape;243;g2ebc266c09e_0_0">
            <a:extLst>
              <a:ext uri="{FF2B5EF4-FFF2-40B4-BE49-F238E27FC236}">
                <a16:creationId xmlns:a16="http://schemas.microsoft.com/office/drawing/2014/main" id="{22E2714B-53D9-2F81-D442-D0C13721756A}"/>
              </a:ext>
            </a:extLst>
          </p:cNvPr>
          <p:cNvPicPr preferRelativeResize="0"/>
          <p:nvPr/>
        </p:nvPicPr>
        <p:blipFill>
          <a:blip r:embed="rId3">
            <a:alphaModFix/>
          </a:blip>
          <a:stretch>
            <a:fillRect/>
          </a:stretch>
        </p:blipFill>
        <p:spPr>
          <a:xfrm>
            <a:off x="33163" y="1798827"/>
            <a:ext cx="7037733" cy="3673201"/>
          </a:xfrm>
          <a:prstGeom prst="rect">
            <a:avLst/>
          </a:prstGeom>
          <a:noFill/>
          <a:ln>
            <a:noFill/>
          </a:ln>
        </p:spPr>
      </p:pic>
      <p:sp>
        <p:nvSpPr>
          <p:cNvPr id="5" name="Google Shape;244;g2ebc266c09e_0_0">
            <a:extLst>
              <a:ext uri="{FF2B5EF4-FFF2-40B4-BE49-F238E27FC236}">
                <a16:creationId xmlns:a16="http://schemas.microsoft.com/office/drawing/2014/main" id="{559CA179-8EDF-F04E-7B96-050CE2C67590}"/>
              </a:ext>
            </a:extLst>
          </p:cNvPr>
          <p:cNvSpPr txBox="1"/>
          <p:nvPr/>
        </p:nvSpPr>
        <p:spPr>
          <a:xfrm>
            <a:off x="7240555" y="151130"/>
            <a:ext cx="4674637" cy="6529952"/>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US" sz="2000" b="1" dirty="0"/>
              <a:t>Goals:</a:t>
            </a:r>
          </a:p>
          <a:p>
            <a:pPr marL="285750" lvl="0" indent="-285750">
              <a:lnSpc>
                <a:spcPct val="90000"/>
              </a:lnSpc>
              <a:spcBef>
                <a:spcPts val="1000"/>
              </a:spcBef>
              <a:spcAft>
                <a:spcPts val="0"/>
              </a:spcAft>
              <a:buClr>
                <a:schemeClr val="dk2"/>
              </a:buClr>
              <a:buSzPts val="1700"/>
              <a:buFont typeface="Wingdings" panose="05000000000000000000" pitchFamily="2" charset="2"/>
              <a:buChar char="Ø"/>
            </a:pPr>
            <a:r>
              <a:rPr lang="en-US" sz="2000" dirty="0"/>
              <a:t>Prove that YANG models contain all the necessary information</a:t>
            </a:r>
          </a:p>
          <a:p>
            <a:pPr marL="285750" indent="-285750">
              <a:lnSpc>
                <a:spcPct val="90000"/>
              </a:lnSpc>
              <a:buClr>
                <a:schemeClr val="dk2"/>
              </a:buClr>
              <a:buSzPts val="1700"/>
              <a:buFont typeface="Wingdings" panose="05000000000000000000" pitchFamily="2" charset="2"/>
              <a:buChar char="Ø"/>
            </a:pPr>
            <a:r>
              <a:rPr lang="en-US" sz="2000" dirty="0"/>
              <a:t>Validate models across a wide range of use-cases</a:t>
            </a:r>
          </a:p>
          <a:p>
            <a:pPr marL="285750" indent="-285750">
              <a:lnSpc>
                <a:spcPct val="90000"/>
              </a:lnSpc>
              <a:buClr>
                <a:schemeClr val="dk2"/>
              </a:buClr>
              <a:buSzPts val="1700"/>
              <a:buFont typeface="Wingdings" panose="05000000000000000000" pitchFamily="2" charset="2"/>
              <a:buChar char="Ø"/>
            </a:pPr>
            <a:r>
              <a:rPr lang="en-US" sz="2000" dirty="0"/>
              <a:t>Show interoperability between </a:t>
            </a:r>
          </a:p>
          <a:p>
            <a:pPr marL="0" lvl="0" indent="0" algn="l" rtl="0">
              <a:lnSpc>
                <a:spcPct val="115000"/>
              </a:lnSpc>
              <a:spcBef>
                <a:spcPts val="1200"/>
              </a:spcBef>
              <a:spcAft>
                <a:spcPts val="0"/>
              </a:spcAft>
              <a:buNone/>
            </a:pPr>
            <a:r>
              <a:rPr lang="en-US" sz="2000" b="1" dirty="0"/>
              <a:t>Done so far:</a:t>
            </a:r>
            <a:endParaRPr sz="2000" b="1" dirty="0"/>
          </a:p>
          <a:p>
            <a:pPr marL="285750" lvl="0" indent="-285750">
              <a:lnSpc>
                <a:spcPct val="90000"/>
              </a:lnSpc>
              <a:spcBef>
                <a:spcPts val="600"/>
              </a:spcBef>
              <a:spcAft>
                <a:spcPts val="0"/>
              </a:spcAft>
              <a:buClr>
                <a:schemeClr val="dk2"/>
              </a:buClr>
              <a:buSzPts val="1700"/>
              <a:buFont typeface="Wingdings" panose="05000000000000000000" pitchFamily="2" charset="2"/>
              <a:buChar char="ü"/>
            </a:pPr>
            <a:r>
              <a:rPr lang="en-US" sz="2000" dirty="0"/>
              <a:t>Validation with real operational data (Cloud monitor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rule-based Network Anomaly Detector (SAIN RFC9417/RFC9418)</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a ML-based Network Anomaly Detector (Autoencoder)</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support for Re-training of ML-based models</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partial support for Metadata Filtering and search</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YANG model refinements to reflect the results of the cod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utomatic dashboard generation</a:t>
            </a:r>
          </a:p>
        </p:txBody>
      </p:sp>
      <p:sp>
        <p:nvSpPr>
          <p:cNvPr id="9" name="TextBox 8">
            <a:extLst>
              <a:ext uri="{FF2B5EF4-FFF2-40B4-BE49-F238E27FC236}">
                <a16:creationId xmlns:a16="http://schemas.microsoft.com/office/drawing/2014/main" id="{C88EE4A3-9182-D4E3-B18C-1D84CB7DF39B}"/>
              </a:ext>
            </a:extLst>
          </p:cNvPr>
          <p:cNvSpPr txBox="1"/>
          <p:nvPr/>
        </p:nvSpPr>
        <p:spPr>
          <a:xfrm>
            <a:off x="838200" y="5580167"/>
            <a:ext cx="6232696" cy="1000274"/>
          </a:xfrm>
          <a:prstGeom prst="rect">
            <a:avLst/>
          </a:prstGeom>
          <a:noFill/>
        </p:spPr>
        <p:txBody>
          <a:bodyPr wrap="square">
            <a:spAutoFit/>
          </a:bodyPr>
          <a:lstStyle/>
          <a:p>
            <a:pPr>
              <a:lnSpc>
                <a:spcPct val="115000"/>
              </a:lnSpc>
              <a:spcBef>
                <a:spcPts val="1200"/>
              </a:spcBef>
            </a:pPr>
            <a:r>
              <a:rPr lang="en-US" sz="2000" b="1" dirty="0">
                <a:solidFill>
                  <a:srgbClr val="FF0000"/>
                </a:solidFill>
              </a:rPr>
              <a:t>Next Steps:</a:t>
            </a:r>
          </a:p>
          <a:p>
            <a:pPr marL="285750" indent="-285750">
              <a:lnSpc>
                <a:spcPct val="90000"/>
              </a:lnSpc>
              <a:spcBef>
                <a:spcPts val="0"/>
              </a:spcBef>
              <a:buClr>
                <a:schemeClr val="dk2"/>
              </a:buClr>
              <a:buSzPts val="1700"/>
              <a:buFont typeface="Wingdings" panose="05000000000000000000" pitchFamily="2" charset="2"/>
              <a:buChar char="Ø"/>
            </a:pPr>
            <a:r>
              <a:rPr lang="en-US" sz="2000" dirty="0"/>
              <a:t>Improve scalability</a:t>
            </a:r>
          </a:p>
          <a:p>
            <a:pPr marL="285750" indent="-285750">
              <a:lnSpc>
                <a:spcPct val="90000"/>
              </a:lnSpc>
              <a:spcBef>
                <a:spcPts val="0"/>
              </a:spcBef>
              <a:buClr>
                <a:schemeClr val="dk2"/>
              </a:buClr>
              <a:buSzPts val="1700"/>
              <a:buFont typeface="Wingdings" panose="05000000000000000000" pitchFamily="2" charset="2"/>
              <a:buChar char="Ø"/>
            </a:pPr>
            <a:r>
              <a:rPr lang="en-US" sz="2000" dirty="0"/>
              <a:t>Integrate and Validate with Swisscom Data</a:t>
            </a:r>
            <a:endParaRPr lang="en-US" sz="2000" dirty="0">
              <a:solidFill>
                <a:schemeClr val="dk2"/>
              </a:solidFill>
            </a:endParaRPr>
          </a:p>
        </p:txBody>
      </p:sp>
    </p:spTree>
    <p:extLst>
      <p:ext uri="{BB962C8B-B14F-4D97-AF65-F5344CB8AC3E}">
        <p14:creationId xmlns:p14="http://schemas.microsoft.com/office/powerpoint/2010/main" val="19142045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8</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3600" dirty="0"/>
            </a:br>
            <a:r>
              <a:rPr lang="en-US" sz="2800" u="sng" dirty="0">
                <a:solidFill>
                  <a:srgbClr val="ACABAB"/>
                </a:solidFill>
              </a:rPr>
              <a:t>an</a:t>
            </a:r>
            <a:r>
              <a:rPr lang="en-US" sz="2800" dirty="0">
                <a:solidFill>
                  <a:srgbClr val="ACABAB"/>
                </a:solidFill>
              </a:rPr>
              <a:t>omaly </a:t>
            </a:r>
            <a:r>
              <a:rPr lang="en-US" sz="2800" u="sng" dirty="0">
                <a:solidFill>
                  <a:srgbClr val="ACABAB"/>
                </a:solidFill>
              </a:rPr>
              <a:t>tag</a:t>
            </a:r>
            <a:r>
              <a:rPr lang="en-US" sz="2800" dirty="0">
                <a:solidFill>
                  <a:srgbClr val="ACABAB"/>
                </a:solidFill>
              </a:rPr>
              <a:t>ging </a:t>
            </a:r>
            <a:r>
              <a:rPr lang="en-US" sz="2800" u="sng" dirty="0">
                <a:solidFill>
                  <a:srgbClr val="ACABAB"/>
                </a:solidFill>
              </a:rPr>
              <a:t>on</a:t>
            </a:r>
            <a:r>
              <a:rPr lang="en-US" sz="2800" dirty="0">
                <a:solidFill>
                  <a:srgbClr val="ACABAB"/>
                </a:solidFill>
              </a:rPr>
              <a:t> h</a:t>
            </a:r>
            <a:r>
              <a:rPr lang="en-US" sz="2800" u="sng" dirty="0">
                <a:solidFill>
                  <a:srgbClr val="ACABAB"/>
                </a:solidFill>
              </a:rPr>
              <a:t>ist</a:t>
            </a:r>
            <a:r>
              <a:rPr lang="en-US" sz="2800" dirty="0">
                <a:solidFill>
                  <a:srgbClr val="ACABAB"/>
                </a:solidFill>
              </a:rPr>
              <a:t>orical data</a:t>
            </a:r>
            <a:endParaRPr sz="2700" dirty="0">
              <a:solidFill>
                <a:srgbClr val="FF0000"/>
              </a:solidFill>
            </a:endParaRPr>
          </a:p>
        </p:txBody>
      </p:sp>
      <p:sp>
        <p:nvSpPr>
          <p:cNvPr id="7" name="Google Shape;72;p15">
            <a:extLst>
              <a:ext uri="{FF2B5EF4-FFF2-40B4-BE49-F238E27FC236}">
                <a16:creationId xmlns:a16="http://schemas.microsoft.com/office/drawing/2014/main" id="{4C8106DA-8352-472F-A294-2D12FDF18133}"/>
              </a:ext>
            </a:extLst>
          </p:cNvPr>
          <p:cNvSpPr txBox="1">
            <a:spLocks/>
          </p:cNvSpPr>
          <p:nvPr/>
        </p:nvSpPr>
        <p:spPr>
          <a:xfrm>
            <a:off x="424345" y="1640993"/>
            <a:ext cx="10606885" cy="4252912"/>
          </a:xfrm>
          <a:prstGeom prst="rect">
            <a:avLst/>
          </a:prstGeom>
        </p:spPr>
        <p:txBody>
          <a:bodyPr spcFirstLastPara="1" vert="horz" wrap="square" lIns="91425" tIns="91425" rIns="91425" bIns="91425" rtlCol="0" anchor="t"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323850">
              <a:spcBef>
                <a:spcPts val="1200"/>
              </a:spcBef>
              <a:buSzPts val="1500"/>
              <a:buFont typeface="Arial" panose="020B0604020202020204" pitchFamily="34" charset="0"/>
              <a:buChar char="●"/>
            </a:pPr>
            <a:r>
              <a:rPr lang="en-US" sz="1800" dirty="0"/>
              <a:t>Antagonist is a </a:t>
            </a:r>
            <a:r>
              <a:rPr lang="en-US" sz="1800" b="1" dirty="0"/>
              <a:t>Label Store</a:t>
            </a:r>
            <a:r>
              <a:rPr lang="en-US" sz="1800" dirty="0"/>
              <a:t> for Network Anomaly Detectors</a:t>
            </a:r>
          </a:p>
          <a:p>
            <a:pPr marL="457200" indent="-323850">
              <a:spcBef>
                <a:spcPts val="0"/>
              </a:spcBef>
              <a:buSzPts val="1500"/>
              <a:buFont typeface="Arial" panose="020B0604020202020204" pitchFamily="34" charset="0"/>
              <a:buChar char="●"/>
            </a:pPr>
            <a:r>
              <a:rPr lang="en-US" sz="1800" dirty="0"/>
              <a:t>It’s API is both human and machine readable and comes with a clear network specific semantic</a:t>
            </a:r>
            <a:endParaRPr lang="en-US" sz="3600" dirty="0"/>
          </a:p>
        </p:txBody>
      </p:sp>
      <p:sp>
        <p:nvSpPr>
          <p:cNvPr id="8" name="Google Shape;73;p15">
            <a:extLst>
              <a:ext uri="{FF2B5EF4-FFF2-40B4-BE49-F238E27FC236}">
                <a16:creationId xmlns:a16="http://schemas.microsoft.com/office/drawing/2014/main" id="{05B39137-8EBF-47FA-A00A-40D2EB1CA7F4}"/>
              </a:ext>
            </a:extLst>
          </p:cNvPr>
          <p:cNvSpPr txBox="1"/>
          <p:nvPr/>
        </p:nvSpPr>
        <p:spPr>
          <a:xfrm>
            <a:off x="609603" y="2683737"/>
            <a:ext cx="4494402" cy="3677900"/>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1200"/>
              </a:spcBef>
              <a:spcAft>
                <a:spcPts val="0"/>
              </a:spcAft>
              <a:buNone/>
            </a:pPr>
            <a:r>
              <a:rPr lang="it" dirty="0"/>
              <a:t>Introducing a Label Store specific for network anomaly enables the following use cases:</a:t>
            </a:r>
            <a:endParaRPr dirty="0"/>
          </a:p>
          <a:p>
            <a:pPr marL="457200" lvl="0" indent="-301625" algn="l" rtl="0">
              <a:lnSpc>
                <a:spcPct val="115000"/>
              </a:lnSpc>
              <a:spcBef>
                <a:spcPts val="1200"/>
              </a:spcBef>
              <a:spcAft>
                <a:spcPts val="0"/>
              </a:spcAft>
              <a:buClr>
                <a:schemeClr val="dk2"/>
              </a:buClr>
              <a:buSzPts val="1150"/>
              <a:buChar char="●"/>
            </a:pPr>
            <a:r>
              <a:rPr lang="it" sz="1600" b="1" dirty="0"/>
              <a:t>Exchange of anomaly detection labels</a:t>
            </a:r>
            <a:r>
              <a:rPr lang="it" sz="1600" dirty="0"/>
              <a:t> between different operators or teams</a:t>
            </a:r>
            <a:endParaRPr sz="1600" dirty="0"/>
          </a:p>
          <a:p>
            <a:pPr marL="457200" lvl="0" indent="-301625" algn="l" rtl="0">
              <a:lnSpc>
                <a:spcPct val="115000"/>
              </a:lnSpc>
              <a:spcBef>
                <a:spcPts val="0"/>
              </a:spcBef>
              <a:spcAft>
                <a:spcPts val="0"/>
              </a:spcAft>
              <a:buClr>
                <a:schemeClr val="dk2"/>
              </a:buClr>
              <a:buSzPts val="1150"/>
              <a:buChar char="●"/>
            </a:pPr>
            <a:r>
              <a:rPr lang="it" sz="1600" b="1" dirty="0"/>
              <a:t>Persistency </a:t>
            </a:r>
            <a:r>
              <a:rPr lang="it" sz="1600" dirty="0"/>
              <a:t>of anomaly detection labels generated by ML models</a:t>
            </a:r>
            <a:endParaRPr sz="1600" dirty="0"/>
          </a:p>
          <a:p>
            <a:pPr marL="457200" lvl="0" indent="-301625" algn="l" rtl="0">
              <a:lnSpc>
                <a:spcPct val="115000"/>
              </a:lnSpc>
              <a:spcBef>
                <a:spcPts val="0"/>
              </a:spcBef>
              <a:spcAft>
                <a:spcPts val="0"/>
              </a:spcAft>
              <a:buClr>
                <a:schemeClr val="dk2"/>
              </a:buClr>
              <a:buSzPts val="1150"/>
              <a:buChar char="●"/>
            </a:pPr>
            <a:r>
              <a:rPr lang="it" sz="1600" b="1" dirty="0"/>
              <a:t>Enable network engineers to easily validate</a:t>
            </a:r>
            <a:r>
              <a:rPr lang="it" sz="1600" dirty="0"/>
              <a:t> the result of the detection and provide feedback to the model (active learning)</a:t>
            </a:r>
            <a:endParaRPr sz="1600" dirty="0"/>
          </a:p>
          <a:p>
            <a:pPr marL="457200" lvl="0" indent="-301625" algn="l" rtl="0">
              <a:lnSpc>
                <a:spcPct val="115000"/>
              </a:lnSpc>
              <a:spcBef>
                <a:spcPts val="0"/>
              </a:spcBef>
              <a:spcAft>
                <a:spcPts val="0"/>
              </a:spcAft>
              <a:buClr>
                <a:schemeClr val="dk2"/>
              </a:buClr>
              <a:buSzPts val="1150"/>
              <a:buChar char="●"/>
            </a:pPr>
            <a:r>
              <a:rPr lang="it" sz="1600" b="1" dirty="0"/>
              <a:t>Provisioning of labels to ML</a:t>
            </a:r>
            <a:r>
              <a:rPr lang="it" sz="1600" dirty="0"/>
              <a:t> for dynamic retraining</a:t>
            </a:r>
            <a:endParaRPr dirty="0"/>
          </a:p>
        </p:txBody>
      </p:sp>
      <p:pic>
        <p:nvPicPr>
          <p:cNvPr id="10" name="Google Shape;74;p15">
            <a:extLst>
              <a:ext uri="{FF2B5EF4-FFF2-40B4-BE49-F238E27FC236}">
                <a16:creationId xmlns:a16="http://schemas.microsoft.com/office/drawing/2014/main" id="{75A14AC9-79CA-4725-A8E8-B1287EB06982}"/>
              </a:ext>
            </a:extLst>
          </p:cNvPr>
          <p:cNvPicPr preferRelativeResize="0"/>
          <p:nvPr/>
        </p:nvPicPr>
        <p:blipFill>
          <a:blip r:embed="rId3">
            <a:alphaModFix/>
          </a:blip>
          <a:stretch>
            <a:fillRect/>
          </a:stretch>
        </p:blipFill>
        <p:spPr>
          <a:xfrm>
            <a:off x="5160874" y="3192370"/>
            <a:ext cx="6634144" cy="3019588"/>
          </a:xfrm>
          <a:prstGeom prst="rect">
            <a:avLst/>
          </a:prstGeom>
          <a:noFill/>
          <a:ln>
            <a:noFill/>
          </a:ln>
        </p:spPr>
      </p:pic>
    </p:spTree>
    <p:extLst>
      <p:ext uri="{BB962C8B-B14F-4D97-AF65-F5344CB8AC3E}">
        <p14:creationId xmlns:p14="http://schemas.microsoft.com/office/powerpoint/2010/main" val="37005234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9</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2800" b="1" dirty="0"/>
            </a:br>
            <a:r>
              <a:rPr lang="en-US" sz="2800" dirty="0">
                <a:solidFill>
                  <a:srgbClr val="ACABAB"/>
                </a:solidFill>
              </a:rPr>
              <a:t>Supported YANG Models</a:t>
            </a:r>
            <a:endParaRPr sz="2800" dirty="0">
              <a:solidFill>
                <a:srgbClr val="ACABAB"/>
              </a:solidFill>
            </a:endParaRPr>
          </a:p>
        </p:txBody>
      </p:sp>
      <p:grpSp>
        <p:nvGrpSpPr>
          <p:cNvPr id="2" name="Group 1">
            <a:extLst>
              <a:ext uri="{FF2B5EF4-FFF2-40B4-BE49-F238E27FC236}">
                <a16:creationId xmlns:a16="http://schemas.microsoft.com/office/drawing/2014/main" id="{16FD04BA-FF8B-47AB-900C-79B1ED6267C4}"/>
              </a:ext>
            </a:extLst>
          </p:cNvPr>
          <p:cNvGrpSpPr/>
          <p:nvPr/>
        </p:nvGrpSpPr>
        <p:grpSpPr>
          <a:xfrm>
            <a:off x="961434" y="513999"/>
            <a:ext cx="11040709" cy="6485457"/>
            <a:chOff x="1746241" y="1010956"/>
            <a:chExt cx="9332307" cy="5481919"/>
          </a:xfrm>
        </p:grpSpPr>
        <p:sp>
          <p:nvSpPr>
            <p:cNvPr id="9" name="Google Shape;80;p16">
              <a:extLst>
                <a:ext uri="{FF2B5EF4-FFF2-40B4-BE49-F238E27FC236}">
                  <a16:creationId xmlns:a16="http://schemas.microsoft.com/office/drawing/2014/main" id="{8E77FCD3-A709-49CE-A9D5-EF6FE2962BEB}"/>
                </a:ext>
              </a:extLst>
            </p:cNvPr>
            <p:cNvSpPr txBox="1"/>
            <p:nvPr/>
          </p:nvSpPr>
          <p:spPr>
            <a:xfrm>
              <a:off x="1798269" y="2951706"/>
              <a:ext cx="3398700" cy="2323200"/>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module: ietf-network-anomaly-metadata</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network-anomalies</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network-anomaly* [id version]</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id             yang:uuid</a:t>
              </a:r>
              <a:endParaRPr sz="850" b="0" i="0" u="none" strike="noStrike" cap="none">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version        uint32</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description?   string</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state          identityref</a:t>
              </a:r>
              <a:endParaRPr sz="850" b="0" i="0" u="none" strike="noStrike" cap="none">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annotator</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rw (annotator-type)</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  +--:(human)</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  |  +--rw human        empty</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  +--:(algorithm)</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     +--rw algorithm    empty</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rw name?              empty</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symptoms* [symptom_id]</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symptom_id    yang:uuid</a:t>
              </a:r>
              <a:endParaRPr sz="850" b="0" i="0" u="none" strike="noStrike" cap="none">
                <a:solidFill>
                  <a:srgbClr val="000000"/>
                </a:solidFill>
                <a:latin typeface="Courier New"/>
                <a:ea typeface="Courier New"/>
                <a:cs typeface="Courier New"/>
                <a:sym typeface="Courier New"/>
              </a:endParaRPr>
            </a:p>
          </p:txBody>
        </p:sp>
        <p:sp>
          <p:nvSpPr>
            <p:cNvPr id="11" name="Google Shape;81;p16">
              <a:extLst>
                <a:ext uri="{FF2B5EF4-FFF2-40B4-BE49-F238E27FC236}">
                  <a16:creationId xmlns:a16="http://schemas.microsoft.com/office/drawing/2014/main" id="{A24B210F-D65E-462D-A470-49AD58A2BB00}"/>
                </a:ext>
              </a:extLst>
            </p:cNvPr>
            <p:cNvSpPr/>
            <p:nvPr/>
          </p:nvSpPr>
          <p:spPr>
            <a:xfrm>
              <a:off x="1746241" y="3824537"/>
              <a:ext cx="3038400" cy="807600"/>
            </a:xfrm>
            <a:prstGeom prst="rect">
              <a:avLst/>
            </a:prstGeom>
            <a:solidFill>
              <a:srgbClr val="70AD47">
                <a:alpha val="9800"/>
              </a:srgbClr>
            </a:solidFill>
            <a:ln w="25400" cap="flat" cmpd="sng">
              <a:solidFill>
                <a:srgbClr val="70AD47"/>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a:solidFill>
                  <a:srgbClr val="FFFFFF"/>
                </a:solidFill>
                <a:latin typeface="Calibri"/>
                <a:ea typeface="Calibri"/>
                <a:cs typeface="Calibri"/>
                <a:sym typeface="Calibri"/>
              </a:endParaRPr>
            </a:p>
          </p:txBody>
        </p:sp>
        <p:sp>
          <p:nvSpPr>
            <p:cNvPr id="12" name="Google Shape;82;p16">
              <a:extLst>
                <a:ext uri="{FF2B5EF4-FFF2-40B4-BE49-F238E27FC236}">
                  <a16:creationId xmlns:a16="http://schemas.microsoft.com/office/drawing/2014/main" id="{6B6BC6C1-3355-495F-8420-954719D07A09}"/>
                </a:ext>
              </a:extLst>
            </p:cNvPr>
            <p:cNvSpPr/>
            <p:nvPr/>
          </p:nvSpPr>
          <p:spPr>
            <a:xfrm>
              <a:off x="1746241" y="3685999"/>
              <a:ext cx="3038400" cy="148200"/>
            </a:xfrm>
            <a:prstGeom prst="rect">
              <a:avLst/>
            </a:prstGeom>
            <a:solidFill>
              <a:srgbClr val="4472C4">
                <a:alpha val="9800"/>
              </a:srgbClr>
            </a:solidFill>
            <a:ln w="25400" cap="flat" cmpd="sng">
              <a:solidFill>
                <a:srgbClr val="4472C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sp>
          <p:nvSpPr>
            <p:cNvPr id="13" name="Google Shape;83;p16">
              <a:extLst>
                <a:ext uri="{FF2B5EF4-FFF2-40B4-BE49-F238E27FC236}">
                  <a16:creationId xmlns:a16="http://schemas.microsoft.com/office/drawing/2014/main" id="{4F389BFA-3577-465A-AE9A-1B6D94448FAF}"/>
                </a:ext>
              </a:extLst>
            </p:cNvPr>
            <p:cNvSpPr txBox="1"/>
            <p:nvPr/>
          </p:nvSpPr>
          <p:spPr>
            <a:xfrm>
              <a:off x="6274048" y="1509875"/>
              <a:ext cx="4804500" cy="4983000"/>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module: ietf-symptom-metadata</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symptom</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id?                        yang:uuid</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event-id?                  yang:uuid</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description?               string</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start-time?                yang:date-and-time</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end-time?                  yang:date-and-time</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confidence-score?          score</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concern-score?             Score</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pattern)?</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drop)</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drop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spike)</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spike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mean-shift)</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mean-shift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seasonality-shift)</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seasonality-shift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trend)</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trend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other)</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ro ifws:other                string</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tags* [ke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ro ifws:key      string</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ro ifws:value    string</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annotator</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annotator-type)</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human)</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human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algorithm)</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ro ifws:algorithm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name?              string</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endParaRPr sz="850" b="0" i="0" u="none" strike="noStrike" cap="none" dirty="0">
                <a:solidFill>
                  <a:srgbClr val="000000"/>
                </a:solidFill>
                <a:latin typeface="Courier New"/>
                <a:ea typeface="Courier New"/>
                <a:cs typeface="Courier New"/>
                <a:sym typeface="Courier New"/>
              </a:endParaRPr>
            </a:p>
          </p:txBody>
        </p:sp>
        <p:sp>
          <p:nvSpPr>
            <p:cNvPr id="14" name="Google Shape;84;p16">
              <a:extLst>
                <a:ext uri="{FF2B5EF4-FFF2-40B4-BE49-F238E27FC236}">
                  <a16:creationId xmlns:a16="http://schemas.microsoft.com/office/drawing/2014/main" id="{8AA8783A-7242-4A29-82AC-F46C449258B1}"/>
                </a:ext>
              </a:extLst>
            </p:cNvPr>
            <p:cNvSpPr/>
            <p:nvPr/>
          </p:nvSpPr>
          <p:spPr>
            <a:xfrm>
              <a:off x="6269769" y="2349017"/>
              <a:ext cx="4590000" cy="282300"/>
            </a:xfrm>
            <a:prstGeom prst="rect">
              <a:avLst/>
            </a:prstGeom>
            <a:solidFill>
              <a:srgbClr val="FFC000">
                <a:alpha val="9800"/>
              </a:srgbClr>
            </a:solidFill>
            <a:ln w="25400" cap="flat" cmpd="sng">
              <a:solidFill>
                <a:srgbClr val="FFC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sp>
          <p:nvSpPr>
            <p:cNvPr id="15" name="Google Shape;85;p16">
              <a:extLst>
                <a:ext uri="{FF2B5EF4-FFF2-40B4-BE49-F238E27FC236}">
                  <a16:creationId xmlns:a16="http://schemas.microsoft.com/office/drawing/2014/main" id="{C0C8CCCC-13C6-47D5-9B53-56C813C3B2E0}"/>
                </a:ext>
              </a:extLst>
            </p:cNvPr>
            <p:cNvSpPr/>
            <p:nvPr/>
          </p:nvSpPr>
          <p:spPr>
            <a:xfrm>
              <a:off x="6274044" y="4135092"/>
              <a:ext cx="4581601" cy="342174"/>
            </a:xfrm>
            <a:prstGeom prst="rect">
              <a:avLst/>
            </a:prstGeom>
            <a:solidFill>
              <a:srgbClr val="ED7D31">
                <a:alpha val="9800"/>
              </a:srgbClr>
            </a:solidFill>
            <a:ln w="25400" cap="flat" cmpd="sng">
              <a:solidFill>
                <a:srgbClr val="ED7D3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sp>
          <p:nvSpPr>
            <p:cNvPr id="16" name="Google Shape;86;p16">
              <a:extLst>
                <a:ext uri="{FF2B5EF4-FFF2-40B4-BE49-F238E27FC236}">
                  <a16:creationId xmlns:a16="http://schemas.microsoft.com/office/drawing/2014/main" id="{5C5D82D7-2C06-43B7-AD3F-36493A31C1BF}"/>
                </a:ext>
              </a:extLst>
            </p:cNvPr>
            <p:cNvSpPr/>
            <p:nvPr/>
          </p:nvSpPr>
          <p:spPr>
            <a:xfrm>
              <a:off x="6269769" y="4483116"/>
              <a:ext cx="4581600" cy="837028"/>
            </a:xfrm>
            <a:prstGeom prst="rect">
              <a:avLst/>
            </a:prstGeom>
            <a:solidFill>
              <a:srgbClr val="70AD47">
                <a:alpha val="9800"/>
              </a:srgbClr>
            </a:solidFill>
            <a:ln w="25400" cap="flat" cmpd="sng">
              <a:solidFill>
                <a:srgbClr val="70AD47"/>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a:solidFill>
                  <a:srgbClr val="FFFFFF"/>
                </a:solidFill>
                <a:latin typeface="Calibri"/>
                <a:ea typeface="Calibri"/>
                <a:cs typeface="Calibri"/>
                <a:sym typeface="Calibri"/>
              </a:endParaRPr>
            </a:p>
          </p:txBody>
        </p:sp>
        <p:sp>
          <p:nvSpPr>
            <p:cNvPr id="17" name="Google Shape;87;p16">
              <a:extLst>
                <a:ext uri="{FF2B5EF4-FFF2-40B4-BE49-F238E27FC236}">
                  <a16:creationId xmlns:a16="http://schemas.microsoft.com/office/drawing/2014/main" id="{67FC6A92-5A6F-43EE-AFE1-675D5F9A9167}"/>
                </a:ext>
              </a:extLst>
            </p:cNvPr>
            <p:cNvSpPr/>
            <p:nvPr/>
          </p:nvSpPr>
          <p:spPr>
            <a:xfrm>
              <a:off x="2023694" y="5600581"/>
              <a:ext cx="3093900" cy="406500"/>
            </a:xfrm>
            <a:prstGeom prst="rect">
              <a:avLst/>
            </a:prstGeom>
            <a:solidFill>
              <a:schemeClr val="lt2"/>
            </a:solidFill>
            <a:ln w="25400" cap="flat" cmpd="sng">
              <a:solidFill>
                <a:srgbClr val="70AD47"/>
              </a:solidFill>
              <a:prstDash val="solid"/>
              <a:miter lim="8000"/>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Font typeface="Arial"/>
                <a:buNone/>
              </a:pPr>
              <a:r>
                <a:rPr lang="it" sz="1300">
                  <a:solidFill>
                    <a:schemeClr val="dk1"/>
                  </a:solidFill>
                  <a:latin typeface="Calibri"/>
                  <a:ea typeface="Calibri"/>
                  <a:cs typeface="Calibri"/>
                  <a:sym typeface="Calibri"/>
                </a:rPr>
                <a:t>Which entity generated the label</a:t>
              </a:r>
              <a:endParaRPr sz="1300">
                <a:solidFill>
                  <a:schemeClr val="dk1"/>
                </a:solidFill>
                <a:latin typeface="Calibri"/>
                <a:ea typeface="Calibri"/>
                <a:cs typeface="Calibri"/>
                <a:sym typeface="Calibri"/>
              </a:endParaRPr>
            </a:p>
          </p:txBody>
        </p:sp>
        <p:cxnSp>
          <p:nvCxnSpPr>
            <p:cNvPr id="18" name="Google Shape;88;p16">
              <a:extLst>
                <a:ext uri="{FF2B5EF4-FFF2-40B4-BE49-F238E27FC236}">
                  <a16:creationId xmlns:a16="http://schemas.microsoft.com/office/drawing/2014/main" id="{7C3C09B6-04AB-4786-AB1F-AAB23E9487BB}"/>
                </a:ext>
              </a:extLst>
            </p:cNvPr>
            <p:cNvCxnSpPr>
              <a:cxnSpLocks/>
              <a:stCxn id="17" idx="0"/>
              <a:endCxn id="11" idx="2"/>
            </p:cNvCxnSpPr>
            <p:nvPr/>
          </p:nvCxnSpPr>
          <p:spPr>
            <a:xfrm flipH="1" flipV="1">
              <a:off x="3265441" y="4632137"/>
              <a:ext cx="305203" cy="968444"/>
            </a:xfrm>
            <a:prstGeom prst="straightConnector1">
              <a:avLst/>
            </a:prstGeom>
            <a:noFill/>
            <a:ln w="9525" cap="flat" cmpd="sng">
              <a:solidFill>
                <a:srgbClr val="6AA84F"/>
              </a:solidFill>
              <a:prstDash val="solid"/>
              <a:round/>
              <a:headEnd type="none" w="med" len="med"/>
              <a:tailEnd type="triangle" w="med" len="med"/>
            </a:ln>
          </p:spPr>
        </p:cxnSp>
        <p:cxnSp>
          <p:nvCxnSpPr>
            <p:cNvPr id="19" name="Google Shape;89;p16">
              <a:extLst>
                <a:ext uri="{FF2B5EF4-FFF2-40B4-BE49-F238E27FC236}">
                  <a16:creationId xmlns:a16="http://schemas.microsoft.com/office/drawing/2014/main" id="{88116259-4EBC-42B4-AC74-132358AE2610}"/>
                </a:ext>
              </a:extLst>
            </p:cNvPr>
            <p:cNvCxnSpPr>
              <a:cxnSpLocks/>
              <a:stCxn id="17" idx="3"/>
              <a:endCxn id="16" idx="1"/>
            </p:cNvCxnSpPr>
            <p:nvPr/>
          </p:nvCxnSpPr>
          <p:spPr>
            <a:xfrm flipV="1">
              <a:off x="5117593" y="4901630"/>
              <a:ext cx="1152176" cy="902201"/>
            </a:xfrm>
            <a:prstGeom prst="straightConnector1">
              <a:avLst/>
            </a:prstGeom>
            <a:noFill/>
            <a:ln w="9525" cap="flat" cmpd="sng">
              <a:solidFill>
                <a:srgbClr val="6AA84F"/>
              </a:solidFill>
              <a:prstDash val="solid"/>
              <a:round/>
              <a:headEnd type="none" w="med" len="med"/>
              <a:tailEnd type="triangle" w="med" len="med"/>
            </a:ln>
          </p:spPr>
        </p:cxnSp>
        <p:sp>
          <p:nvSpPr>
            <p:cNvPr id="20" name="Google Shape;90;p16">
              <a:extLst>
                <a:ext uri="{FF2B5EF4-FFF2-40B4-BE49-F238E27FC236}">
                  <a16:creationId xmlns:a16="http://schemas.microsoft.com/office/drawing/2014/main" id="{B1C18EDE-DDF3-4E9C-B450-D7856DAA2CD2}"/>
                </a:ext>
              </a:extLst>
            </p:cNvPr>
            <p:cNvSpPr/>
            <p:nvPr/>
          </p:nvSpPr>
          <p:spPr>
            <a:xfrm>
              <a:off x="1903919" y="2219531"/>
              <a:ext cx="2282100" cy="406500"/>
            </a:xfrm>
            <a:prstGeom prst="rect">
              <a:avLst/>
            </a:prstGeom>
            <a:solidFill>
              <a:schemeClr val="lt2"/>
            </a:solidFill>
            <a:ln w="25400" cap="flat" cmpd="sng">
              <a:solidFill>
                <a:srgbClr val="4472C4"/>
              </a:solidFill>
              <a:prstDash val="solid"/>
              <a:miter lim="8000"/>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it" sz="1300">
                  <a:solidFill>
                    <a:schemeClr val="dk1"/>
                  </a:solidFill>
                  <a:latin typeface="Calibri"/>
                  <a:ea typeface="Calibri"/>
                  <a:cs typeface="Calibri"/>
                  <a:sym typeface="Calibri"/>
                </a:rPr>
                <a:t>In which state of the anomaly the label was generated</a:t>
              </a:r>
              <a:endParaRPr sz="1300">
                <a:solidFill>
                  <a:schemeClr val="dk1"/>
                </a:solidFill>
                <a:latin typeface="Calibri"/>
                <a:ea typeface="Calibri"/>
                <a:cs typeface="Calibri"/>
                <a:sym typeface="Calibri"/>
              </a:endParaRPr>
            </a:p>
          </p:txBody>
        </p:sp>
        <p:cxnSp>
          <p:nvCxnSpPr>
            <p:cNvPr id="21" name="Google Shape;91;p16">
              <a:extLst>
                <a:ext uri="{FF2B5EF4-FFF2-40B4-BE49-F238E27FC236}">
                  <a16:creationId xmlns:a16="http://schemas.microsoft.com/office/drawing/2014/main" id="{61F67716-407D-491A-B44F-7DD1035D82E9}"/>
                </a:ext>
              </a:extLst>
            </p:cNvPr>
            <p:cNvCxnSpPr>
              <a:stCxn id="20" idx="2"/>
              <a:endCxn id="12" idx="0"/>
            </p:cNvCxnSpPr>
            <p:nvPr/>
          </p:nvCxnSpPr>
          <p:spPr>
            <a:xfrm>
              <a:off x="3044970" y="2626031"/>
              <a:ext cx="220472" cy="1059968"/>
            </a:xfrm>
            <a:prstGeom prst="straightConnector1">
              <a:avLst/>
            </a:prstGeom>
            <a:noFill/>
            <a:ln w="9525" cap="flat" cmpd="sng">
              <a:solidFill>
                <a:schemeClr val="accent1"/>
              </a:solidFill>
              <a:prstDash val="solid"/>
              <a:round/>
              <a:headEnd type="none" w="med" len="med"/>
              <a:tailEnd type="triangle" w="med" len="med"/>
            </a:ln>
          </p:spPr>
        </p:cxnSp>
        <p:sp>
          <p:nvSpPr>
            <p:cNvPr id="22" name="Google Shape;92;p16">
              <a:extLst>
                <a:ext uri="{FF2B5EF4-FFF2-40B4-BE49-F238E27FC236}">
                  <a16:creationId xmlns:a16="http://schemas.microsoft.com/office/drawing/2014/main" id="{3DB1AD13-676E-4F4A-8A1A-0B5CBB51F90E}"/>
                </a:ext>
              </a:extLst>
            </p:cNvPr>
            <p:cNvSpPr/>
            <p:nvPr/>
          </p:nvSpPr>
          <p:spPr>
            <a:xfrm>
              <a:off x="6274044" y="1010956"/>
              <a:ext cx="4370100" cy="406500"/>
            </a:xfrm>
            <a:prstGeom prst="rect">
              <a:avLst/>
            </a:prstGeom>
            <a:solidFill>
              <a:schemeClr val="lt2"/>
            </a:solidFill>
            <a:ln w="25400" cap="flat" cmpd="sng">
              <a:solidFill>
                <a:srgbClr val="FFD966"/>
              </a:solidFill>
              <a:prstDash val="solid"/>
              <a:miter lim="8000"/>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it" sz="1300">
                  <a:solidFill>
                    <a:schemeClr val="dk1"/>
                  </a:solidFill>
                  <a:latin typeface="Calibri"/>
                  <a:ea typeface="Calibri"/>
                  <a:cs typeface="Calibri"/>
                  <a:sym typeface="Calibri"/>
                </a:rPr>
                <a:t>Provide labels to ML based on the specific action to perform</a:t>
              </a:r>
              <a:br>
                <a:rPr lang="it" sz="1300">
                  <a:solidFill>
                    <a:schemeClr val="dk1"/>
                  </a:solidFill>
                  <a:latin typeface="Calibri"/>
                  <a:ea typeface="Calibri"/>
                  <a:cs typeface="Calibri"/>
                  <a:sym typeface="Calibri"/>
                </a:rPr>
              </a:br>
              <a:r>
                <a:rPr lang="it" sz="1300">
                  <a:solidFill>
                    <a:schemeClr val="dk1"/>
                  </a:solidFill>
                  <a:latin typeface="Calibri"/>
                  <a:ea typeface="Calibri"/>
                  <a:cs typeface="Calibri"/>
                  <a:sym typeface="Calibri"/>
                </a:rPr>
                <a:t>(e.g. Active Learning, ML Retraining, )</a:t>
              </a:r>
              <a:endParaRPr sz="1300">
                <a:solidFill>
                  <a:schemeClr val="dk1"/>
                </a:solidFill>
                <a:latin typeface="Calibri"/>
                <a:ea typeface="Calibri"/>
                <a:cs typeface="Calibri"/>
                <a:sym typeface="Calibri"/>
              </a:endParaRPr>
            </a:p>
          </p:txBody>
        </p:sp>
        <p:cxnSp>
          <p:nvCxnSpPr>
            <p:cNvPr id="23" name="Google Shape;93;p16">
              <a:extLst>
                <a:ext uri="{FF2B5EF4-FFF2-40B4-BE49-F238E27FC236}">
                  <a16:creationId xmlns:a16="http://schemas.microsoft.com/office/drawing/2014/main" id="{187D580F-DF34-409A-B572-7F3BBC935398}"/>
                </a:ext>
              </a:extLst>
            </p:cNvPr>
            <p:cNvCxnSpPr>
              <a:stCxn id="22" idx="2"/>
              <a:endCxn id="14" idx="0"/>
            </p:cNvCxnSpPr>
            <p:nvPr/>
          </p:nvCxnSpPr>
          <p:spPr>
            <a:xfrm>
              <a:off x="8459094" y="1417456"/>
              <a:ext cx="105676" cy="931561"/>
            </a:xfrm>
            <a:prstGeom prst="straightConnector1">
              <a:avLst/>
            </a:prstGeom>
            <a:noFill/>
            <a:ln w="9525" cap="flat" cmpd="sng">
              <a:solidFill>
                <a:srgbClr val="FFD966"/>
              </a:solidFill>
              <a:prstDash val="solid"/>
              <a:round/>
              <a:headEnd type="none" w="med" len="med"/>
              <a:tailEnd type="triangle" w="med" len="med"/>
            </a:ln>
          </p:spPr>
        </p:cxnSp>
        <p:sp>
          <p:nvSpPr>
            <p:cNvPr id="24" name="Google Shape;94;p16">
              <a:extLst>
                <a:ext uri="{FF2B5EF4-FFF2-40B4-BE49-F238E27FC236}">
                  <a16:creationId xmlns:a16="http://schemas.microsoft.com/office/drawing/2014/main" id="{EB2D6F37-A4E8-4710-8942-C288F9C0129F}"/>
                </a:ext>
              </a:extLst>
            </p:cNvPr>
            <p:cNvSpPr/>
            <p:nvPr/>
          </p:nvSpPr>
          <p:spPr>
            <a:xfrm>
              <a:off x="5362869" y="3459606"/>
              <a:ext cx="1644000" cy="406500"/>
            </a:xfrm>
            <a:prstGeom prst="rect">
              <a:avLst/>
            </a:prstGeom>
            <a:solidFill>
              <a:schemeClr val="lt2"/>
            </a:solidFill>
            <a:ln w="25400" cap="flat" cmpd="sng">
              <a:solidFill>
                <a:srgbClr val="ED7D31"/>
              </a:solidFill>
              <a:prstDash val="solid"/>
              <a:miter lim="8000"/>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it" sz="1300">
                  <a:solidFill>
                    <a:schemeClr val="dk1"/>
                  </a:solidFill>
                  <a:latin typeface="Calibri"/>
                  <a:ea typeface="Calibri"/>
                  <a:cs typeface="Calibri"/>
                  <a:sym typeface="Calibri"/>
                </a:rPr>
                <a:t>Labels can be filtered based on the tags</a:t>
              </a:r>
              <a:endParaRPr sz="1300">
                <a:solidFill>
                  <a:schemeClr val="dk1"/>
                </a:solidFill>
                <a:latin typeface="Calibri"/>
                <a:ea typeface="Calibri"/>
                <a:cs typeface="Calibri"/>
                <a:sym typeface="Calibri"/>
              </a:endParaRPr>
            </a:p>
          </p:txBody>
        </p:sp>
        <p:cxnSp>
          <p:nvCxnSpPr>
            <p:cNvPr id="25" name="Google Shape;95;p16">
              <a:extLst>
                <a:ext uri="{FF2B5EF4-FFF2-40B4-BE49-F238E27FC236}">
                  <a16:creationId xmlns:a16="http://schemas.microsoft.com/office/drawing/2014/main" id="{0EAA911F-5D3C-4FB3-9BD2-AF61A058573F}"/>
                </a:ext>
              </a:extLst>
            </p:cNvPr>
            <p:cNvCxnSpPr>
              <a:cxnSpLocks/>
              <a:stCxn id="24" idx="2"/>
              <a:endCxn id="15" idx="0"/>
            </p:cNvCxnSpPr>
            <p:nvPr/>
          </p:nvCxnSpPr>
          <p:spPr>
            <a:xfrm>
              <a:off x="6184869" y="3866106"/>
              <a:ext cx="2379975" cy="268986"/>
            </a:xfrm>
            <a:prstGeom prst="straightConnector1">
              <a:avLst/>
            </a:prstGeom>
            <a:noFill/>
            <a:ln w="9525" cap="flat" cmpd="sng">
              <a:solidFill>
                <a:srgbClr val="ED7D31"/>
              </a:solidFill>
              <a:prstDash val="solid"/>
              <a:round/>
              <a:headEnd type="none" w="med" len="med"/>
              <a:tailEnd type="triangle" w="med" len="med"/>
            </a:ln>
          </p:spPr>
        </p:cxnSp>
      </p:grpSp>
    </p:spTree>
    <p:extLst>
      <p:ext uri="{BB962C8B-B14F-4D97-AF65-F5344CB8AC3E}">
        <p14:creationId xmlns:p14="http://schemas.microsoft.com/office/powerpoint/2010/main" val="26412534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2" name="Gruppieren 37">
            <a:extLst>
              <a:ext uri="{FF2B5EF4-FFF2-40B4-BE49-F238E27FC236}">
                <a16:creationId xmlns:a16="http://schemas.microsoft.com/office/drawing/2014/main" id="{593A3D2C-AF3C-4647-1B02-6C5086C62287}"/>
              </a:ext>
            </a:extLst>
          </p:cNvPr>
          <p:cNvGrpSpPr>
            <a:grpSpLocks noChangeAspect="1"/>
          </p:cNvGrpSpPr>
          <p:nvPr/>
        </p:nvGrpSpPr>
        <p:grpSpPr>
          <a:xfrm>
            <a:off x="4141425" y="5073000"/>
            <a:ext cx="1440000" cy="1440000"/>
            <a:chOff x="9420737" y="1699669"/>
            <a:chExt cx="1440000" cy="1440000"/>
          </a:xfrm>
        </p:grpSpPr>
        <p:sp>
          <p:nvSpPr>
            <p:cNvPr id="3" name="Textfeld 31">
              <a:extLst>
                <a:ext uri="{FF2B5EF4-FFF2-40B4-BE49-F238E27FC236}">
                  <a16:creationId xmlns:a16="http://schemas.microsoft.com/office/drawing/2014/main" id="{21A2E246-8977-0C56-8169-DA0A27B49547}"/>
                </a:ext>
              </a:extLst>
            </p:cNvPr>
            <p:cNvSpPr txBox="1"/>
            <p:nvPr>
              <p:custDataLst>
                <p:tags r:id="rId8"/>
              </p:custDataLst>
            </p:nvPr>
          </p:nvSpPr>
          <p:spPr bwMode="gray">
            <a:xfrm>
              <a:off x="9420737" y="1699669"/>
              <a:ext cx="1440000" cy="1440000"/>
            </a:xfrm>
            <a:prstGeom prst="ellipse">
              <a:avLst/>
            </a:prstGeom>
            <a:solidFill>
              <a:schemeClr val="bg1"/>
            </a:solidFill>
            <a:ln w="6350">
              <a:solidFill>
                <a:schemeClr val="tx1"/>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Data Collection</a:t>
              </a:r>
            </a:p>
          </p:txBody>
        </p:sp>
        <p:sp>
          <p:nvSpPr>
            <p:cNvPr id="4" name="Rechteck 32">
              <a:extLst>
                <a:ext uri="{FF2B5EF4-FFF2-40B4-BE49-F238E27FC236}">
                  <a16:creationId xmlns:a16="http://schemas.microsoft.com/office/drawing/2014/main" id="{A20B2D5A-928F-260A-3CF1-C2C4CAA43CF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7" name="Gruppieren 86">
            <a:extLst>
              <a:ext uri="{FF2B5EF4-FFF2-40B4-BE49-F238E27FC236}">
                <a16:creationId xmlns:a16="http://schemas.microsoft.com/office/drawing/2014/main" id="{746914D8-DC97-6FCE-CCEC-831AF8343A92}"/>
              </a:ext>
            </a:extLst>
          </p:cNvPr>
          <p:cNvGrpSpPr>
            <a:grpSpLocks noChangeAspect="1"/>
          </p:cNvGrpSpPr>
          <p:nvPr/>
        </p:nvGrpSpPr>
        <p:grpSpPr>
          <a:xfrm>
            <a:off x="1133909" y="3029989"/>
            <a:ext cx="1296000" cy="1296000"/>
            <a:chOff x="9777596" y="4473116"/>
            <a:chExt cx="1440000" cy="1440000"/>
          </a:xfrm>
        </p:grpSpPr>
        <p:sp>
          <p:nvSpPr>
            <p:cNvPr id="8" name="Textfeld 39">
              <a:extLst>
                <a:ext uri="{FF2B5EF4-FFF2-40B4-BE49-F238E27FC236}">
                  <a16:creationId xmlns:a16="http://schemas.microsoft.com/office/drawing/2014/main" id="{677D70B8-28D4-9C31-9D94-D3052A1620BA}"/>
                </a:ext>
              </a:extLst>
            </p:cNvPr>
            <p:cNvSpPr txBox="1"/>
            <p:nvPr>
              <p:custDataLst>
                <p:tags r:id="rId7"/>
              </p:custDataLst>
            </p:nvPr>
          </p:nvSpPr>
          <p:spPr bwMode="gray">
            <a:xfrm>
              <a:off x="9777596" y="4473116"/>
              <a:ext cx="1440000" cy="1440000"/>
            </a:xfrm>
            <a:prstGeom prst="ellipse">
              <a:avLst/>
            </a:prstGeom>
            <a:solidFill>
              <a:schemeClr val="bg1"/>
            </a:solidFill>
            <a:ln w="28575">
              <a:solidFill>
                <a:srgbClr val="1781E3"/>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Device Trend Detection</a:t>
              </a:r>
            </a:p>
          </p:txBody>
        </p:sp>
        <p:sp>
          <p:nvSpPr>
            <p:cNvPr id="9" name="Rechteck 40">
              <a:extLst>
                <a:ext uri="{FF2B5EF4-FFF2-40B4-BE49-F238E27FC236}">
                  <a16:creationId xmlns:a16="http://schemas.microsoft.com/office/drawing/2014/main" id="{A7D4BF0B-6AC3-4AA9-E8BD-1253A110E4C1}"/>
                </a:ext>
              </a:extLst>
            </p:cNvPr>
            <p:cNvSpPr/>
            <p:nvPr/>
          </p:nvSpPr>
          <p:spPr>
            <a:xfrm>
              <a:off x="10497596" y="4473116"/>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0" name="Gruppieren 42">
            <a:extLst>
              <a:ext uri="{FF2B5EF4-FFF2-40B4-BE49-F238E27FC236}">
                <a16:creationId xmlns:a16="http://schemas.microsoft.com/office/drawing/2014/main" id="{2A39462A-F04D-B596-7A41-2767D485510C}"/>
              </a:ext>
            </a:extLst>
          </p:cNvPr>
          <p:cNvGrpSpPr>
            <a:grpSpLocks noChangeAspect="1"/>
          </p:cNvGrpSpPr>
          <p:nvPr/>
        </p:nvGrpSpPr>
        <p:grpSpPr>
          <a:xfrm>
            <a:off x="2651309" y="3029989"/>
            <a:ext cx="1296000" cy="1296000"/>
            <a:chOff x="9420737" y="1699669"/>
            <a:chExt cx="1440000" cy="1440000"/>
          </a:xfrm>
        </p:grpSpPr>
        <p:sp>
          <p:nvSpPr>
            <p:cNvPr id="11" name="Textfeld 43">
              <a:extLst>
                <a:ext uri="{FF2B5EF4-FFF2-40B4-BE49-F238E27FC236}">
                  <a16:creationId xmlns:a16="http://schemas.microsoft.com/office/drawing/2014/main" id="{BC202C79-EF00-4794-A5E7-54FD1AD6FFEC}"/>
                </a:ext>
              </a:extLst>
            </p:cNvPr>
            <p:cNvSpPr txBox="1"/>
            <p:nvPr>
              <p:custDataLst>
                <p:tags r:id="rId6"/>
              </p:custDataLst>
            </p:nvPr>
          </p:nvSpPr>
          <p:spPr bwMode="gray">
            <a:xfrm>
              <a:off x="9420737" y="1699669"/>
              <a:ext cx="1440000" cy="1440000"/>
            </a:xfrm>
            <a:prstGeom prst="ellipse">
              <a:avLst/>
            </a:prstGeom>
            <a:solidFill>
              <a:schemeClr val="bg1"/>
            </a:solidFill>
            <a:ln w="28575">
              <a:solidFill>
                <a:srgbClr val="0EABA9"/>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Verify, Troubleshoot and Notify</a:t>
              </a:r>
            </a:p>
          </p:txBody>
        </p:sp>
        <p:sp>
          <p:nvSpPr>
            <p:cNvPr id="12" name="Rechteck 44">
              <a:extLst>
                <a:ext uri="{FF2B5EF4-FFF2-40B4-BE49-F238E27FC236}">
                  <a16:creationId xmlns:a16="http://schemas.microsoft.com/office/drawing/2014/main" id="{D0BEF0AD-9BD5-957F-DF20-EA76A3E6320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3" name="Gruppieren 45">
            <a:extLst>
              <a:ext uri="{FF2B5EF4-FFF2-40B4-BE49-F238E27FC236}">
                <a16:creationId xmlns:a16="http://schemas.microsoft.com/office/drawing/2014/main" id="{C27136FF-F3FA-F76D-A713-2F31CB874934}"/>
              </a:ext>
            </a:extLst>
          </p:cNvPr>
          <p:cNvGrpSpPr>
            <a:grpSpLocks noChangeAspect="1"/>
          </p:cNvGrpSpPr>
          <p:nvPr/>
        </p:nvGrpSpPr>
        <p:grpSpPr>
          <a:xfrm>
            <a:off x="8723272" y="3104417"/>
            <a:ext cx="1296000" cy="1296000"/>
            <a:chOff x="9420737" y="1699669"/>
            <a:chExt cx="1440000" cy="1440000"/>
          </a:xfrm>
        </p:grpSpPr>
        <p:sp>
          <p:nvSpPr>
            <p:cNvPr id="15" name="Textfeld 46">
              <a:extLst>
                <a:ext uri="{FF2B5EF4-FFF2-40B4-BE49-F238E27FC236}">
                  <a16:creationId xmlns:a16="http://schemas.microsoft.com/office/drawing/2014/main" id="{F228A6D5-55A8-F878-625A-2CFBC2A4CC8C}"/>
                </a:ext>
              </a:extLst>
            </p:cNvPr>
            <p:cNvSpPr txBox="1"/>
            <p:nvPr>
              <p:custDataLst>
                <p:tags r:id="rId5"/>
              </p:custDataLst>
            </p:nvPr>
          </p:nvSpPr>
          <p:spPr bwMode="gray">
            <a:xfrm>
              <a:off x="9420737" y="1699669"/>
              <a:ext cx="1440000" cy="1440000"/>
            </a:xfrm>
            <a:prstGeom prst="ellipse">
              <a:avLst/>
            </a:prstGeom>
            <a:solidFill>
              <a:schemeClr val="bg1"/>
            </a:solidFill>
            <a:ln w="28575">
              <a:solidFill>
                <a:srgbClr val="5944C6"/>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Closed Loop Operation</a:t>
              </a:r>
            </a:p>
          </p:txBody>
        </p:sp>
        <p:sp>
          <p:nvSpPr>
            <p:cNvPr id="16" name="Rechteck 47">
              <a:extLst>
                <a:ext uri="{FF2B5EF4-FFF2-40B4-BE49-F238E27FC236}">
                  <a16:creationId xmlns:a16="http://schemas.microsoft.com/office/drawing/2014/main" id="{B76F4586-6C16-9488-8080-DC2366DDC57B}"/>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7" name="Gruppieren 48">
            <a:extLst>
              <a:ext uri="{FF2B5EF4-FFF2-40B4-BE49-F238E27FC236}">
                <a16:creationId xmlns:a16="http://schemas.microsoft.com/office/drawing/2014/main" id="{CEB0384D-AE7F-401C-F7FF-BDAEA866A31A}"/>
              </a:ext>
            </a:extLst>
          </p:cNvPr>
          <p:cNvGrpSpPr>
            <a:grpSpLocks noChangeAspect="1"/>
          </p:cNvGrpSpPr>
          <p:nvPr/>
        </p:nvGrpSpPr>
        <p:grpSpPr>
          <a:xfrm>
            <a:off x="4166756" y="3081453"/>
            <a:ext cx="1296000" cy="1296000"/>
            <a:chOff x="9420737" y="1699669"/>
            <a:chExt cx="1440000" cy="1440000"/>
          </a:xfrm>
        </p:grpSpPr>
        <p:sp>
          <p:nvSpPr>
            <p:cNvPr id="18" name="Textfeld 49">
              <a:extLst>
                <a:ext uri="{FF2B5EF4-FFF2-40B4-BE49-F238E27FC236}">
                  <a16:creationId xmlns:a16="http://schemas.microsoft.com/office/drawing/2014/main" id="{710443C2-A213-C93E-D7DE-9256AD74C9AA}"/>
                </a:ext>
              </a:extLst>
            </p:cNvPr>
            <p:cNvSpPr txBox="1"/>
            <p:nvPr>
              <p:custDataLst>
                <p:tags r:id="rId4"/>
              </p:custDataLst>
            </p:nvPr>
          </p:nvSpPr>
          <p:spPr bwMode="gray">
            <a:xfrm>
              <a:off x="9420737" y="1699669"/>
              <a:ext cx="1440000" cy="1440000"/>
            </a:xfrm>
            <a:prstGeom prst="ellipse">
              <a:avLst/>
            </a:prstGeom>
            <a:solidFill>
              <a:schemeClr val="bg1"/>
            </a:solidFill>
            <a:ln w="28575">
              <a:solidFill>
                <a:srgbClr val="DDE3E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Anomaly Detection</a:t>
              </a:r>
            </a:p>
          </p:txBody>
        </p:sp>
        <p:sp>
          <p:nvSpPr>
            <p:cNvPr id="19" name="Rechteck 50">
              <a:extLst>
                <a:ext uri="{FF2B5EF4-FFF2-40B4-BE49-F238E27FC236}">
                  <a16:creationId xmlns:a16="http://schemas.microsoft.com/office/drawing/2014/main" id="{B0C54029-2E2D-F6C0-FCED-13B25FD81DFE}"/>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20" name="Gruppieren 51">
            <a:extLst>
              <a:ext uri="{FF2B5EF4-FFF2-40B4-BE49-F238E27FC236}">
                <a16:creationId xmlns:a16="http://schemas.microsoft.com/office/drawing/2014/main" id="{1B5435B3-AE86-5E3B-7DD7-612D9AD30695}"/>
              </a:ext>
            </a:extLst>
          </p:cNvPr>
          <p:cNvGrpSpPr>
            <a:grpSpLocks noChangeAspect="1"/>
          </p:cNvGrpSpPr>
          <p:nvPr/>
        </p:nvGrpSpPr>
        <p:grpSpPr>
          <a:xfrm>
            <a:off x="5670531" y="3029989"/>
            <a:ext cx="1296000" cy="1296000"/>
            <a:chOff x="9420737" y="1699669"/>
            <a:chExt cx="1440000" cy="1440000"/>
          </a:xfrm>
        </p:grpSpPr>
        <p:sp>
          <p:nvSpPr>
            <p:cNvPr id="21" name="Textfeld 52">
              <a:extLst>
                <a:ext uri="{FF2B5EF4-FFF2-40B4-BE49-F238E27FC236}">
                  <a16:creationId xmlns:a16="http://schemas.microsoft.com/office/drawing/2014/main" id="{8B96C491-62EA-C102-02AE-9C35C6819F7C}"/>
                </a:ext>
              </a:extLst>
            </p:cNvPr>
            <p:cNvSpPr txBox="1"/>
            <p:nvPr>
              <p:custDataLst>
                <p:tags r:id="rId3"/>
              </p:custDataLst>
            </p:nvPr>
          </p:nvSpPr>
          <p:spPr bwMode="gray">
            <a:xfrm>
              <a:off x="9420737" y="1699669"/>
              <a:ext cx="1440000" cy="1440000"/>
            </a:xfrm>
            <a:prstGeom prst="ellipse">
              <a:avLst/>
            </a:prstGeom>
            <a:solidFill>
              <a:schemeClr val="bg1"/>
            </a:solidFill>
            <a:ln w="28575">
              <a:solidFill>
                <a:srgbClr val="E61E64"/>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Visualization </a:t>
              </a:r>
            </a:p>
          </p:txBody>
        </p:sp>
        <p:sp>
          <p:nvSpPr>
            <p:cNvPr id="22" name="Rechteck 53">
              <a:extLst>
                <a:ext uri="{FF2B5EF4-FFF2-40B4-BE49-F238E27FC236}">
                  <a16:creationId xmlns:a16="http://schemas.microsoft.com/office/drawing/2014/main" id="{CD5EEA4E-05C6-79F3-6419-252AE948AC1F}"/>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23" name="Gruppieren 54">
            <a:extLst>
              <a:ext uri="{FF2B5EF4-FFF2-40B4-BE49-F238E27FC236}">
                <a16:creationId xmlns:a16="http://schemas.microsoft.com/office/drawing/2014/main" id="{43DA79DF-E42D-79DA-2E63-37571E43F0EB}"/>
              </a:ext>
            </a:extLst>
          </p:cNvPr>
          <p:cNvGrpSpPr>
            <a:grpSpLocks noChangeAspect="1"/>
          </p:cNvGrpSpPr>
          <p:nvPr/>
        </p:nvGrpSpPr>
        <p:grpSpPr>
          <a:xfrm>
            <a:off x="7189919" y="3081453"/>
            <a:ext cx="1296000" cy="1296000"/>
            <a:chOff x="9420737" y="1699669"/>
            <a:chExt cx="1440000" cy="1440000"/>
          </a:xfrm>
        </p:grpSpPr>
        <p:sp>
          <p:nvSpPr>
            <p:cNvPr id="24" name="Textfeld 55">
              <a:extLst>
                <a:ext uri="{FF2B5EF4-FFF2-40B4-BE49-F238E27FC236}">
                  <a16:creationId xmlns:a16="http://schemas.microsoft.com/office/drawing/2014/main" id="{AF618EBE-6571-2ABA-C463-166B9EC84BF4}"/>
                </a:ext>
              </a:extLst>
            </p:cNvPr>
            <p:cNvSpPr txBox="1"/>
            <p:nvPr>
              <p:custDataLst>
                <p:tags r:id="rId2"/>
              </p:custDataLst>
            </p:nvPr>
          </p:nvSpPr>
          <p:spPr bwMode="gray">
            <a:xfrm>
              <a:off x="9420737" y="1699669"/>
              <a:ext cx="1440000" cy="1440000"/>
            </a:xfrm>
            <a:prstGeom prst="ellipse">
              <a:avLst/>
            </a:prstGeom>
            <a:solidFill>
              <a:schemeClr val="bg1"/>
            </a:solidFill>
            <a:ln w="28575">
              <a:solidFill>
                <a:srgbClr val="A6329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a:t>
              </a: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SLI and SLO</a:t>
              </a:r>
            </a:p>
          </p:txBody>
        </p:sp>
        <p:sp>
          <p:nvSpPr>
            <p:cNvPr id="25" name="Rechteck 56">
              <a:extLst>
                <a:ext uri="{FF2B5EF4-FFF2-40B4-BE49-F238E27FC236}">
                  <a16:creationId xmlns:a16="http://schemas.microsoft.com/office/drawing/2014/main" id="{6E4AAC49-253A-16CD-EEDC-0B1795F09A96}"/>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cxnSp>
        <p:nvCxnSpPr>
          <p:cNvPr id="26" name="Straight Arrow Connector 25">
            <a:extLst>
              <a:ext uri="{FF2B5EF4-FFF2-40B4-BE49-F238E27FC236}">
                <a16:creationId xmlns:a16="http://schemas.microsoft.com/office/drawing/2014/main" id="{E14B17EC-9407-E3A2-1F7C-D47095BE2DDB}"/>
              </a:ext>
            </a:extLst>
          </p:cNvPr>
          <p:cNvCxnSpPr/>
          <p:nvPr/>
        </p:nvCxnSpPr>
        <p:spPr bwMode="gray">
          <a:xfrm>
            <a:off x="1562428" y="1762656"/>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2C9830F3-CBF4-D372-DBC5-8AB3BCB5DD2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46822" y="2105153"/>
            <a:ext cx="410400" cy="410400"/>
          </a:xfrm>
          <a:prstGeom prst="rect">
            <a:avLst/>
          </a:prstGeom>
        </p:spPr>
      </p:pic>
      <p:pic>
        <p:nvPicPr>
          <p:cNvPr id="28" name="Graphic 27">
            <a:extLst>
              <a:ext uri="{FF2B5EF4-FFF2-40B4-BE49-F238E27FC236}">
                <a16:creationId xmlns:a16="http://schemas.microsoft.com/office/drawing/2014/main" id="{17EB060B-2351-6AC0-7856-F33CB052400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13298" y="2119502"/>
            <a:ext cx="410400" cy="410400"/>
          </a:xfrm>
          <a:prstGeom prst="rect">
            <a:avLst/>
          </a:prstGeom>
        </p:spPr>
      </p:pic>
      <p:sp>
        <p:nvSpPr>
          <p:cNvPr id="29" name="Rectangle 28">
            <a:extLst>
              <a:ext uri="{FF2B5EF4-FFF2-40B4-BE49-F238E27FC236}">
                <a16:creationId xmlns:a16="http://schemas.microsoft.com/office/drawing/2014/main" id="{5DF5E834-66E3-AE49-4040-1D628970A3FC}"/>
              </a:ext>
            </a:extLst>
          </p:cNvPr>
          <p:cNvSpPr/>
          <p:nvPr/>
        </p:nvSpPr>
        <p:spPr bwMode="gray">
          <a:xfrm>
            <a:off x="1577989" y="1741622"/>
            <a:ext cx="724220"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Alert</a:t>
            </a:r>
          </a:p>
        </p:txBody>
      </p:sp>
      <p:sp>
        <p:nvSpPr>
          <p:cNvPr id="30" name="Rectangle 29">
            <a:extLst>
              <a:ext uri="{FF2B5EF4-FFF2-40B4-BE49-F238E27FC236}">
                <a16:creationId xmlns:a16="http://schemas.microsoft.com/office/drawing/2014/main" id="{BA1C20F7-8218-7EF6-0AE8-992862F0E030}"/>
              </a:ext>
            </a:extLst>
          </p:cNvPr>
          <p:cNvSpPr/>
          <p:nvPr/>
        </p:nvSpPr>
        <p:spPr bwMode="gray">
          <a:xfrm>
            <a:off x="2591780" y="1741622"/>
            <a:ext cx="1053436"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Postmortem</a:t>
            </a:r>
          </a:p>
        </p:txBody>
      </p:sp>
      <p:pic>
        <p:nvPicPr>
          <p:cNvPr id="31" name="Picture 30">
            <a:extLst>
              <a:ext uri="{FF2B5EF4-FFF2-40B4-BE49-F238E27FC236}">
                <a16:creationId xmlns:a16="http://schemas.microsoft.com/office/drawing/2014/main" id="{17DF8467-9125-3982-1295-79F29C9B0DC8}"/>
              </a:ext>
            </a:extLst>
          </p:cNvPr>
          <p:cNvPicPr>
            <a:picLocks noChangeAspect="1"/>
          </p:cNvPicPr>
          <p:nvPr/>
        </p:nvPicPr>
        <p:blipFill>
          <a:blip r:embed="rId13"/>
          <a:stretch>
            <a:fillRect/>
          </a:stretch>
        </p:blipFill>
        <p:spPr>
          <a:xfrm>
            <a:off x="9134630" y="3240845"/>
            <a:ext cx="469639" cy="357447"/>
          </a:xfrm>
          <a:prstGeom prst="rect">
            <a:avLst/>
          </a:prstGeom>
        </p:spPr>
      </p:pic>
      <p:pic>
        <p:nvPicPr>
          <p:cNvPr id="32" name="Picture 31">
            <a:extLst>
              <a:ext uri="{FF2B5EF4-FFF2-40B4-BE49-F238E27FC236}">
                <a16:creationId xmlns:a16="http://schemas.microsoft.com/office/drawing/2014/main" id="{C770A491-1DB5-77FC-712B-35F7A47E2F99}"/>
              </a:ext>
            </a:extLst>
          </p:cNvPr>
          <p:cNvPicPr>
            <a:picLocks noChangeAspect="1"/>
          </p:cNvPicPr>
          <p:nvPr/>
        </p:nvPicPr>
        <p:blipFill>
          <a:blip r:embed="rId14"/>
          <a:stretch>
            <a:fillRect/>
          </a:stretch>
        </p:blipFill>
        <p:spPr>
          <a:xfrm>
            <a:off x="4628429" y="5293198"/>
            <a:ext cx="457022" cy="393192"/>
          </a:xfrm>
          <a:prstGeom prst="rect">
            <a:avLst/>
          </a:prstGeom>
        </p:spPr>
      </p:pic>
      <p:pic>
        <p:nvPicPr>
          <p:cNvPr id="33" name="Picture 32">
            <a:extLst>
              <a:ext uri="{FF2B5EF4-FFF2-40B4-BE49-F238E27FC236}">
                <a16:creationId xmlns:a16="http://schemas.microsoft.com/office/drawing/2014/main" id="{17CD1AF5-AD78-AA80-9E26-C4515CC45BFA}"/>
              </a:ext>
            </a:extLst>
          </p:cNvPr>
          <p:cNvPicPr>
            <a:picLocks noChangeAspect="1"/>
          </p:cNvPicPr>
          <p:nvPr/>
        </p:nvPicPr>
        <p:blipFill>
          <a:blip r:embed="rId15"/>
          <a:stretch>
            <a:fillRect/>
          </a:stretch>
        </p:blipFill>
        <p:spPr>
          <a:xfrm>
            <a:off x="3094109" y="3122827"/>
            <a:ext cx="424647" cy="393192"/>
          </a:xfrm>
          <a:prstGeom prst="rect">
            <a:avLst/>
          </a:prstGeom>
        </p:spPr>
      </p:pic>
      <p:pic>
        <p:nvPicPr>
          <p:cNvPr id="34" name="Picture 33">
            <a:extLst>
              <a:ext uri="{FF2B5EF4-FFF2-40B4-BE49-F238E27FC236}">
                <a16:creationId xmlns:a16="http://schemas.microsoft.com/office/drawing/2014/main" id="{0DF49D5E-4B86-6869-98D7-DE092FC30B18}"/>
              </a:ext>
            </a:extLst>
          </p:cNvPr>
          <p:cNvPicPr>
            <a:picLocks noChangeAspect="1"/>
          </p:cNvPicPr>
          <p:nvPr/>
        </p:nvPicPr>
        <p:blipFill>
          <a:blip r:embed="rId16"/>
          <a:stretch>
            <a:fillRect/>
          </a:stretch>
        </p:blipFill>
        <p:spPr>
          <a:xfrm>
            <a:off x="4594444" y="3151466"/>
            <a:ext cx="454869" cy="393192"/>
          </a:xfrm>
          <a:prstGeom prst="rect">
            <a:avLst/>
          </a:prstGeom>
        </p:spPr>
      </p:pic>
      <p:pic>
        <p:nvPicPr>
          <p:cNvPr id="35" name="Picture 34">
            <a:extLst>
              <a:ext uri="{FF2B5EF4-FFF2-40B4-BE49-F238E27FC236}">
                <a16:creationId xmlns:a16="http://schemas.microsoft.com/office/drawing/2014/main" id="{76768564-2BA7-E325-FE43-6D4CE762CDAA}"/>
              </a:ext>
            </a:extLst>
          </p:cNvPr>
          <p:cNvPicPr>
            <a:picLocks noChangeAspect="1"/>
          </p:cNvPicPr>
          <p:nvPr/>
        </p:nvPicPr>
        <p:blipFill>
          <a:blip r:embed="rId17"/>
          <a:stretch>
            <a:fillRect/>
          </a:stretch>
        </p:blipFill>
        <p:spPr>
          <a:xfrm>
            <a:off x="7600566" y="3202810"/>
            <a:ext cx="474707" cy="393192"/>
          </a:xfrm>
          <a:prstGeom prst="rect">
            <a:avLst/>
          </a:prstGeom>
        </p:spPr>
      </p:pic>
      <p:pic>
        <p:nvPicPr>
          <p:cNvPr id="36" name="Picture 35">
            <a:extLst>
              <a:ext uri="{FF2B5EF4-FFF2-40B4-BE49-F238E27FC236}">
                <a16:creationId xmlns:a16="http://schemas.microsoft.com/office/drawing/2014/main" id="{BA0A7074-FC27-6B8B-F899-8DDE2533BB10}"/>
              </a:ext>
            </a:extLst>
          </p:cNvPr>
          <p:cNvPicPr>
            <a:picLocks noChangeAspect="1"/>
          </p:cNvPicPr>
          <p:nvPr/>
        </p:nvPicPr>
        <p:blipFill>
          <a:blip r:embed="rId18"/>
          <a:stretch>
            <a:fillRect/>
          </a:stretch>
        </p:blipFill>
        <p:spPr>
          <a:xfrm>
            <a:off x="6085367" y="3192400"/>
            <a:ext cx="474367" cy="393192"/>
          </a:xfrm>
          <a:prstGeom prst="rect">
            <a:avLst/>
          </a:prstGeom>
        </p:spPr>
      </p:pic>
      <p:pic>
        <p:nvPicPr>
          <p:cNvPr id="37" name="Picture 36">
            <a:extLst>
              <a:ext uri="{FF2B5EF4-FFF2-40B4-BE49-F238E27FC236}">
                <a16:creationId xmlns:a16="http://schemas.microsoft.com/office/drawing/2014/main" id="{D966A7CE-25D4-DED2-6D45-788D6CB73BA2}"/>
              </a:ext>
            </a:extLst>
          </p:cNvPr>
          <p:cNvPicPr>
            <a:picLocks noChangeAspect="1"/>
          </p:cNvPicPr>
          <p:nvPr/>
        </p:nvPicPr>
        <p:blipFill>
          <a:blip r:embed="rId19"/>
          <a:stretch>
            <a:fillRect/>
          </a:stretch>
        </p:blipFill>
        <p:spPr>
          <a:xfrm>
            <a:off x="1577989" y="3104417"/>
            <a:ext cx="445123" cy="393192"/>
          </a:xfrm>
          <a:prstGeom prst="rect">
            <a:avLst/>
          </a:prstGeom>
        </p:spPr>
      </p:pic>
      <p:cxnSp>
        <p:nvCxnSpPr>
          <p:cNvPr id="38" name="Straight Connector 37">
            <a:extLst>
              <a:ext uri="{FF2B5EF4-FFF2-40B4-BE49-F238E27FC236}">
                <a16:creationId xmlns:a16="http://schemas.microsoft.com/office/drawing/2014/main" id="{10DC3853-02C8-D495-EDB1-B0129F6F9E30}"/>
              </a:ext>
            </a:extLst>
          </p:cNvPr>
          <p:cNvCxnSpPr/>
          <p:nvPr/>
        </p:nvCxnSpPr>
        <p:spPr bwMode="gray">
          <a:xfrm>
            <a:off x="1050398" y="4905347"/>
            <a:ext cx="9379274"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BC6E6D7-2688-CCDB-6A6C-7880291A8339}"/>
              </a:ext>
            </a:extLst>
          </p:cNvPr>
          <p:cNvCxnSpPr/>
          <p:nvPr/>
        </p:nvCxnSpPr>
        <p:spPr bwMode="gray">
          <a:xfrm>
            <a:off x="1044803" y="2672601"/>
            <a:ext cx="9379274"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686B893-78A4-3D56-EECA-A2AEF814D57E}"/>
              </a:ext>
            </a:extLst>
          </p:cNvPr>
          <p:cNvSpPr/>
          <p:nvPr/>
        </p:nvSpPr>
        <p:spPr bwMode="gray">
          <a:xfrm>
            <a:off x="3461645" y="2212755"/>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hlinkClick r:id="rId20"/>
              </a:rPr>
              <a:t>draft-</a:t>
            </a:r>
            <a:r>
              <a:rPr kumimoji="0" lang="en-US" sz="1200" b="1" i="0" u="none" strike="noStrike" kern="1200" cap="none" spc="0" normalizeH="0" baseline="0" noProof="0" dirty="0" err="1">
                <a:ln>
                  <a:noFill/>
                </a:ln>
                <a:solidFill>
                  <a:prstClr val="black"/>
                </a:solidFill>
                <a:effectLst/>
                <a:uLnTx/>
                <a:uFillTx/>
                <a:ea typeface="+mn-ea"/>
                <a:cs typeface="+mn-cs"/>
                <a:hlinkClick r:id="rId20"/>
              </a:rPr>
              <a:t>netana</a:t>
            </a:r>
            <a:r>
              <a:rPr kumimoji="0" lang="en-US" sz="1200" b="1" i="0" u="none" strike="noStrike" kern="1200" cap="none" spc="0" normalizeH="0" baseline="0" noProof="0" dirty="0">
                <a:ln>
                  <a:noFill/>
                </a:ln>
                <a:solidFill>
                  <a:prstClr val="black"/>
                </a:solidFill>
                <a:effectLst/>
                <a:uLnTx/>
                <a:uFillTx/>
                <a:ea typeface="+mn-ea"/>
                <a:cs typeface="+mn-cs"/>
                <a:hlinkClick r:id="rId20"/>
              </a:rPr>
              <a:t>-</a:t>
            </a:r>
            <a:r>
              <a:rPr kumimoji="0" lang="en-US" sz="1200" b="1" i="0" u="none" strike="noStrike" kern="1200" cap="none" spc="0" normalizeH="0" baseline="0" noProof="0" dirty="0" err="1">
                <a:ln>
                  <a:noFill/>
                </a:ln>
                <a:solidFill>
                  <a:prstClr val="black"/>
                </a:solidFill>
                <a:effectLst/>
                <a:uLnTx/>
                <a:uFillTx/>
                <a:ea typeface="+mn-ea"/>
                <a:cs typeface="+mn-cs"/>
                <a:hlinkClick r:id="rId20"/>
              </a:rPr>
              <a:t>nmop</a:t>
            </a:r>
            <a:r>
              <a:rPr kumimoji="0" lang="en-US" sz="1200" b="1" i="0" u="none" strike="noStrike" kern="1200" cap="none" spc="0" normalizeH="0" baseline="0" noProof="0" dirty="0">
                <a:ln>
                  <a:noFill/>
                </a:ln>
                <a:solidFill>
                  <a:prstClr val="black"/>
                </a:solidFill>
                <a:effectLst/>
                <a:uLnTx/>
                <a:uFillTx/>
                <a:ea typeface="+mn-ea"/>
                <a:cs typeface="+mn-cs"/>
                <a:hlinkClick r:id="rId20"/>
              </a:rPr>
              <a:t>-network-anomaly-semantics</a:t>
            </a: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hlinkClick r:id="rId21"/>
              </a:rPr>
              <a:t>draft-</a:t>
            </a:r>
            <a:r>
              <a:rPr kumimoji="0" lang="en-US" sz="1200" b="1" i="0" u="none" strike="noStrike" kern="1200" cap="none" spc="0" normalizeH="0" baseline="0" noProof="0" dirty="0" err="1">
                <a:ln>
                  <a:noFill/>
                </a:ln>
                <a:solidFill>
                  <a:prstClr val="black"/>
                </a:solidFill>
                <a:effectLst/>
                <a:uLnTx/>
                <a:uFillTx/>
                <a:ea typeface="+mn-ea"/>
                <a:cs typeface="+mn-cs"/>
                <a:hlinkClick r:id="rId21"/>
              </a:rPr>
              <a:t>netana</a:t>
            </a:r>
            <a:r>
              <a:rPr kumimoji="0" lang="en-US" sz="1200" b="1" i="0" u="none" strike="noStrike" kern="1200" cap="none" spc="0" normalizeH="0" baseline="0" noProof="0" dirty="0">
                <a:ln>
                  <a:noFill/>
                </a:ln>
                <a:solidFill>
                  <a:prstClr val="black"/>
                </a:solidFill>
                <a:effectLst/>
                <a:uLnTx/>
                <a:uFillTx/>
                <a:ea typeface="+mn-ea"/>
                <a:cs typeface="+mn-cs"/>
                <a:hlinkClick r:id="rId21"/>
              </a:rPr>
              <a:t>-</a:t>
            </a:r>
            <a:r>
              <a:rPr kumimoji="0" lang="en-US" sz="1200" b="1" i="0" u="none" strike="noStrike" kern="1200" cap="none" spc="0" normalizeH="0" baseline="0" noProof="0" dirty="0" err="1">
                <a:ln>
                  <a:noFill/>
                </a:ln>
                <a:solidFill>
                  <a:prstClr val="black"/>
                </a:solidFill>
                <a:effectLst/>
                <a:uLnTx/>
                <a:uFillTx/>
                <a:ea typeface="+mn-ea"/>
                <a:cs typeface="+mn-cs"/>
                <a:hlinkClick r:id="rId21"/>
              </a:rPr>
              <a:t>nmop</a:t>
            </a:r>
            <a:r>
              <a:rPr kumimoji="0" lang="en-US" sz="1200" b="1" i="0" u="none" strike="noStrike" kern="1200" cap="none" spc="0" normalizeH="0" baseline="0" noProof="0" dirty="0">
                <a:ln>
                  <a:noFill/>
                </a:ln>
                <a:solidFill>
                  <a:prstClr val="black"/>
                </a:solidFill>
                <a:effectLst/>
                <a:uLnTx/>
                <a:uFillTx/>
                <a:ea typeface="+mn-ea"/>
                <a:cs typeface="+mn-cs"/>
                <a:hlinkClick r:id="rId21"/>
              </a:rPr>
              <a:t>-network-anomaly-lifecycle</a:t>
            </a:r>
            <a:endParaRPr kumimoji="0" lang="en-US" sz="1200" b="1" i="0" u="none" strike="noStrike" kern="1200" cap="none" spc="0" normalizeH="0" baseline="0" noProof="0" dirty="0">
              <a:ln>
                <a:noFill/>
              </a:ln>
              <a:solidFill>
                <a:prstClr val="black"/>
              </a:solidFill>
              <a:effectLst/>
              <a:uLnTx/>
              <a:uFillTx/>
              <a:ea typeface="+mn-ea"/>
              <a:cs typeface="+mn-cs"/>
            </a:endParaRPr>
          </a:p>
        </p:txBody>
      </p:sp>
      <p:cxnSp>
        <p:nvCxnSpPr>
          <p:cNvPr id="42" name="Straight Arrow Connector 41">
            <a:extLst>
              <a:ext uri="{FF2B5EF4-FFF2-40B4-BE49-F238E27FC236}">
                <a16:creationId xmlns:a16="http://schemas.microsoft.com/office/drawing/2014/main" id="{3CD8EA4A-314A-BB28-E712-414D5F01E35F}"/>
              </a:ext>
            </a:extLst>
          </p:cNvPr>
          <p:cNvCxnSpPr/>
          <p:nvPr/>
        </p:nvCxnSpPr>
        <p:spPr bwMode="gray">
          <a:xfrm>
            <a:off x="2612083" y="1762656"/>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1E3CC50D-6BF1-E751-D746-D130EE998D4B}"/>
              </a:ext>
            </a:extLst>
          </p:cNvPr>
          <p:cNvCxnSpPr/>
          <p:nvPr/>
        </p:nvCxnSpPr>
        <p:spPr bwMode="gray">
          <a:xfrm>
            <a:off x="5863467" y="5073000"/>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Data Mesh organizes Data in Organizations</a:t>
            </a:r>
            <a:br>
              <a:rPr lang="en-GB" sz="3600" dirty="0"/>
            </a:br>
            <a:r>
              <a:rPr lang="en-US" sz="2700" dirty="0">
                <a:solidFill>
                  <a:schemeClr val="bg2">
                    <a:lumMod val="75000"/>
                  </a:schemeClr>
                </a:solidFill>
              </a:rPr>
              <a:t>Enables Network Analytics use cases</a:t>
            </a:r>
          </a:p>
        </p:txBody>
      </p:sp>
      <p:sp>
        <p:nvSpPr>
          <p:cNvPr id="14" name="TextBox 13">
            <a:extLst>
              <a:ext uri="{FF2B5EF4-FFF2-40B4-BE49-F238E27FC236}">
                <a16:creationId xmlns:a16="http://schemas.microsoft.com/office/drawing/2014/main" id="{A1EA8359-DC79-8122-1266-D00A47BFEBE7}"/>
              </a:ext>
            </a:extLst>
          </p:cNvPr>
          <p:cNvSpPr txBox="1"/>
          <p:nvPr/>
        </p:nvSpPr>
        <p:spPr>
          <a:xfrm>
            <a:off x="755754" y="2294617"/>
            <a:ext cx="80215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black"/>
                </a:solidFill>
                <a:effectLst/>
                <a:uLnTx/>
                <a:uFillTx/>
                <a:ea typeface="+mn-ea"/>
                <a:cs typeface="+mn-cs"/>
                <a:hlinkClick r:id="rId22"/>
              </a:rPr>
              <a:t>RFC 8632</a:t>
            </a:r>
            <a:endParaRPr kumimoji="0" lang="de-CH" sz="1200" i="0" u="none" strike="noStrike" kern="1200" cap="none" spc="0" normalizeH="0" baseline="0" noProof="0" dirty="0">
              <a:ln>
                <a:noFill/>
              </a:ln>
              <a:solidFill>
                <a:prstClr val="black"/>
              </a:solidFill>
              <a:effectLst/>
              <a:uLnTx/>
              <a:uFillTx/>
              <a:ea typeface="+mn-ea"/>
              <a:cs typeface="+mn-cs"/>
            </a:endParaRPr>
          </a:p>
        </p:txBody>
      </p:sp>
      <p:sp>
        <p:nvSpPr>
          <p:cNvPr id="43" name="Textfeld 49">
            <a:extLst>
              <a:ext uri="{FF2B5EF4-FFF2-40B4-BE49-F238E27FC236}">
                <a16:creationId xmlns:a16="http://schemas.microsoft.com/office/drawing/2014/main" id="{0BE6D769-3D3F-136C-2542-47D8CD603382}"/>
              </a:ext>
            </a:extLst>
          </p:cNvPr>
          <p:cNvSpPr txBox="1"/>
          <p:nvPr>
            <p:custDataLst>
              <p:tags r:id="rId1"/>
            </p:custDataLst>
          </p:nvPr>
        </p:nvSpPr>
        <p:spPr bwMode="gray">
          <a:xfrm>
            <a:off x="3929403" y="2815301"/>
            <a:ext cx="1761022" cy="1811606"/>
          </a:xfrm>
          <a:prstGeom prst="ellipse">
            <a:avLst/>
          </a:prstGeom>
          <a:solidFill>
            <a:srgbClr val="FF0000">
              <a:alpha val="5000"/>
            </a:srgbClr>
          </a:solidFill>
          <a:ln w="6350">
            <a:solidFill>
              <a:srgbClr val="FF0000"/>
            </a:solidFill>
            <a:prstDash val="sysDot"/>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endParaRPr kumimoji="0" lang="en-US" sz="1200" b="1" i="0" u="none" strike="noStrike" kern="1200" cap="none" spc="0" normalizeH="0" baseline="0" noProof="0" dirty="0">
              <a:ln>
                <a:noFill/>
              </a:ln>
              <a:solidFill>
                <a:prstClr val="black"/>
              </a:solidFill>
              <a:effectLst/>
              <a:uLnTx/>
              <a:uFillTx/>
              <a:ea typeface="+mn-ea"/>
              <a:cs typeface="+mn-cs"/>
            </a:endParaRPr>
          </a:p>
        </p:txBody>
      </p:sp>
      <p:sp>
        <p:nvSpPr>
          <p:cNvPr id="5" name="Rectangle 4">
            <a:extLst>
              <a:ext uri="{FF2B5EF4-FFF2-40B4-BE49-F238E27FC236}">
                <a16:creationId xmlns:a16="http://schemas.microsoft.com/office/drawing/2014/main" id="{66A4E115-1F77-20A8-3DA1-68ED2196E5C6}"/>
              </a:ext>
            </a:extLst>
          </p:cNvPr>
          <p:cNvSpPr/>
          <p:nvPr/>
        </p:nvSpPr>
        <p:spPr bwMode="gray">
          <a:xfrm>
            <a:off x="3504586" y="4598248"/>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lang="en-US" sz="1200" b="1" dirty="0">
                <a:solidFill>
                  <a:prstClr val="black"/>
                </a:solidFill>
                <a:hlinkClick r:id="rId23"/>
              </a:rPr>
              <a:t>draft-</a:t>
            </a:r>
            <a:r>
              <a:rPr lang="en-US" sz="1200" b="1" dirty="0" err="1">
                <a:solidFill>
                  <a:prstClr val="black"/>
                </a:solidFill>
                <a:hlinkClick r:id="rId23"/>
              </a:rPr>
              <a:t>netana</a:t>
            </a:r>
            <a:r>
              <a:rPr lang="en-US" sz="1200" b="1" dirty="0">
                <a:solidFill>
                  <a:prstClr val="black"/>
                </a:solidFill>
                <a:hlinkClick r:id="rId23"/>
              </a:rPr>
              <a:t>-</a:t>
            </a:r>
            <a:r>
              <a:rPr lang="en-US" sz="1200" b="1" dirty="0" err="1">
                <a:solidFill>
                  <a:prstClr val="black"/>
                </a:solidFill>
                <a:hlinkClick r:id="rId23"/>
              </a:rPr>
              <a:t>nmop</a:t>
            </a:r>
            <a:r>
              <a:rPr lang="en-US" sz="1200" b="1" dirty="0">
                <a:solidFill>
                  <a:prstClr val="black"/>
                </a:solidFill>
                <a:hlinkClick r:id="rId23"/>
              </a:rPr>
              <a:t>-network-anomaly-architecture</a:t>
            </a:r>
            <a:endParaRPr kumimoji="0" lang="en-US" sz="1200" b="1" i="0" u="none" strike="noStrike" kern="1200" cap="none" spc="0" normalizeH="0" baseline="0" noProof="0" dirty="0">
              <a:ln>
                <a:noFill/>
              </a:ln>
              <a:solidFill>
                <a:prstClr val="black"/>
              </a:solidFill>
              <a:effectLst/>
              <a:uLnTx/>
              <a:uFillTx/>
              <a:ea typeface="+mn-ea"/>
              <a:cs typeface="+mn-cs"/>
            </a:endParaRPr>
          </a:p>
        </p:txBody>
      </p:sp>
      <p:sp>
        <p:nvSpPr>
          <p:cNvPr id="44" name="TextBox 43">
            <a:extLst>
              <a:ext uri="{FF2B5EF4-FFF2-40B4-BE49-F238E27FC236}">
                <a16:creationId xmlns:a16="http://schemas.microsoft.com/office/drawing/2014/main" id="{3AEDF2F7-CBB1-37EC-1E76-291921B5FC70}"/>
              </a:ext>
            </a:extLst>
          </p:cNvPr>
          <p:cNvSpPr txBox="1"/>
          <p:nvPr/>
        </p:nvSpPr>
        <p:spPr>
          <a:xfrm>
            <a:off x="5935922" y="5186800"/>
            <a:ext cx="5900477" cy="1384995"/>
          </a:xfrm>
          <a:prstGeom prst="rect">
            <a:avLst/>
          </a:prstGeom>
          <a:noFill/>
        </p:spPr>
        <p:txBody>
          <a:bodyPr wrap="square">
            <a:spAutoFit/>
          </a:bodyPr>
          <a:lstStyle/>
          <a:p>
            <a:pPr>
              <a:defRPr/>
            </a:pPr>
            <a:r>
              <a:rPr lang="en-US" sz="1200" b="1" dirty="0">
                <a:solidFill>
                  <a:prstClr val="black"/>
                </a:solidFill>
              </a:rPr>
              <a:t>Network Telemetry (</a:t>
            </a:r>
            <a:r>
              <a:rPr lang="en-US" sz="1200" b="1" dirty="0">
                <a:solidFill>
                  <a:prstClr val="black"/>
                </a:solidFill>
                <a:hlinkClick r:id="" action="ppaction://noaction"/>
              </a:rPr>
              <a:t>RFC 9232</a:t>
            </a:r>
            <a:r>
              <a:rPr lang="en-US" sz="1200" b="1" dirty="0">
                <a:solidFill>
                  <a:prstClr val="black"/>
                </a:solidFill>
              </a:rPr>
              <a:t>)</a:t>
            </a:r>
            <a:br>
              <a:rPr lang="en-US" sz="1200" b="1" dirty="0">
                <a:solidFill>
                  <a:prstClr val="black"/>
                </a:solidFill>
              </a:rPr>
            </a:br>
            <a:r>
              <a:rPr lang="en-US" sz="1200" b="1" dirty="0">
                <a:solidFill>
                  <a:prstClr val="black"/>
                </a:solidFill>
              </a:rPr>
              <a:t>IPFIX </a:t>
            </a:r>
            <a:r>
              <a:rPr lang="en-US" sz="1200" dirty="0">
                <a:solidFill>
                  <a:prstClr val="black"/>
                </a:solidFill>
              </a:rPr>
              <a:t>(</a:t>
            </a:r>
            <a:r>
              <a:rPr lang="en-US" sz="1200" dirty="0">
                <a:solidFill>
                  <a:prstClr val="black"/>
                </a:solidFill>
                <a:hlinkClick r:id="rId24"/>
              </a:rPr>
              <a:t>RFC 7011</a:t>
            </a:r>
            <a:r>
              <a:rPr lang="en-US" sz="1200" dirty="0">
                <a:solidFill>
                  <a:prstClr val="black"/>
                </a:solidFill>
              </a:rPr>
              <a:t>, </a:t>
            </a:r>
            <a:r>
              <a:rPr lang="en-US" sz="1200" dirty="0">
                <a:solidFill>
                  <a:prstClr val="black"/>
                </a:solidFill>
                <a:hlinkClick r:id="rId25"/>
              </a:rPr>
              <a:t>RFC 9487</a:t>
            </a:r>
            <a:r>
              <a:rPr lang="en-US" sz="1200" dirty="0">
                <a:solidFill>
                  <a:prstClr val="black"/>
                </a:solidFill>
              </a:rPr>
              <a:t>, </a:t>
            </a:r>
            <a:r>
              <a:rPr lang="en-US" sz="1200" dirty="0">
                <a:solidFill>
                  <a:prstClr val="black"/>
                </a:solidFill>
                <a:hlinkClick r:id="rId26"/>
              </a:rPr>
              <a:t>RFC 9160</a:t>
            </a:r>
            <a:r>
              <a:rPr lang="en-US" sz="1200" dirty="0">
                <a:solidFill>
                  <a:prstClr val="black"/>
                </a:solidFill>
              </a:rPr>
              <a:t>, </a:t>
            </a:r>
            <a:r>
              <a:rPr lang="en-US" sz="1200" dirty="0">
                <a:solidFill>
                  <a:prstClr val="black"/>
                </a:solidFill>
                <a:hlinkClick r:id="rId27"/>
              </a:rPr>
              <a:t>draft-</a:t>
            </a:r>
            <a:r>
              <a:rPr lang="en-US" sz="1200" dirty="0" err="1">
                <a:solidFill>
                  <a:prstClr val="black"/>
                </a:solidFill>
                <a:hlinkClick r:id="rId27"/>
              </a:rPr>
              <a:t>ietf</a:t>
            </a:r>
            <a:r>
              <a:rPr lang="en-US" sz="1200" dirty="0">
                <a:solidFill>
                  <a:prstClr val="black"/>
                </a:solidFill>
                <a:hlinkClick r:id="rId27"/>
              </a:rPr>
              <a:t>-opsawg-</a:t>
            </a:r>
            <a:r>
              <a:rPr lang="en-US" sz="1200" dirty="0" err="1">
                <a:solidFill>
                  <a:prstClr val="black"/>
                </a:solidFill>
                <a:hlinkClick r:id="rId27"/>
              </a:rPr>
              <a:t>ipfix</a:t>
            </a:r>
            <a:r>
              <a:rPr lang="en-US" sz="1200" dirty="0">
                <a:solidFill>
                  <a:prstClr val="black"/>
                </a:solidFill>
                <a:hlinkClick r:id="rId27"/>
              </a:rPr>
              <a:t>-on-path-telemetry</a:t>
            </a:r>
            <a:r>
              <a:rPr lang="en-US" sz="1200" dirty="0">
                <a:solidFill>
                  <a:prstClr val="black"/>
                </a:solidFill>
              </a:rPr>
              <a:t>)</a:t>
            </a:r>
          </a:p>
          <a:p>
            <a:pPr>
              <a:defRPr/>
            </a:pPr>
            <a:r>
              <a:rPr lang="de-CH" sz="1200" b="1" dirty="0">
                <a:solidFill>
                  <a:prstClr val="black"/>
                </a:solidFill>
              </a:rPr>
              <a:t>BMP </a:t>
            </a:r>
            <a:r>
              <a:rPr lang="de-CH" sz="1200" dirty="0">
                <a:solidFill>
                  <a:prstClr val="black"/>
                </a:solidFill>
              </a:rPr>
              <a:t>(</a:t>
            </a:r>
            <a:r>
              <a:rPr lang="de-CH" sz="1200" dirty="0">
                <a:solidFill>
                  <a:prstClr val="black"/>
                </a:solidFill>
                <a:hlinkClick r:id="rId28"/>
              </a:rPr>
              <a:t>RFC 7854</a:t>
            </a:r>
            <a:r>
              <a:rPr lang="de-CH" sz="1200" dirty="0">
                <a:solidFill>
                  <a:prstClr val="black"/>
                </a:solidFill>
              </a:rPr>
              <a:t>, </a:t>
            </a:r>
            <a:r>
              <a:rPr lang="de-CH" sz="1200" dirty="0">
                <a:solidFill>
                  <a:prstClr val="black"/>
                </a:solidFill>
                <a:hlinkClick r:id="rId29"/>
              </a:rPr>
              <a:t>RFC 8671</a:t>
            </a:r>
            <a:r>
              <a:rPr lang="de-CH" sz="1200" dirty="0">
                <a:solidFill>
                  <a:prstClr val="black"/>
                </a:solidFill>
              </a:rPr>
              <a:t>, </a:t>
            </a:r>
            <a:r>
              <a:rPr lang="de-CH" sz="1200" dirty="0">
                <a:solidFill>
                  <a:prstClr val="black"/>
                </a:solidFill>
                <a:hlinkClick r:id="rId30"/>
              </a:rPr>
              <a:t>RFC 9069</a:t>
            </a:r>
            <a:r>
              <a:rPr lang="de-CH" sz="1200" dirty="0">
                <a:solidFill>
                  <a:prstClr val="black"/>
                </a:solidFill>
              </a:rPr>
              <a:t>, </a:t>
            </a:r>
            <a:r>
              <a:rPr lang="de-CH" sz="1200" dirty="0">
                <a:solidFill>
                  <a:prstClr val="black"/>
                </a:solidFill>
                <a:hlinkClick r:id="rId31"/>
              </a:rPr>
              <a:t>draft-</a:t>
            </a:r>
            <a:r>
              <a:rPr lang="de-CH" sz="1200" dirty="0" err="1">
                <a:solidFill>
                  <a:prstClr val="black"/>
                </a:solidFill>
                <a:hlinkClick r:id="rId31"/>
              </a:rPr>
              <a:t>ietf</a:t>
            </a:r>
            <a:r>
              <a:rPr lang="de-CH" sz="1200" dirty="0">
                <a:solidFill>
                  <a:prstClr val="black"/>
                </a:solidFill>
                <a:hlinkClick r:id="rId31"/>
              </a:rPr>
              <a:t>-grow-</a:t>
            </a:r>
            <a:r>
              <a:rPr lang="de-CH" sz="1200" dirty="0" err="1">
                <a:solidFill>
                  <a:prstClr val="black"/>
                </a:solidFill>
                <a:hlinkClick r:id="rId31"/>
              </a:rPr>
              <a:t>bmp</a:t>
            </a:r>
            <a:r>
              <a:rPr lang="de-CH" sz="1200" dirty="0">
                <a:solidFill>
                  <a:prstClr val="black"/>
                </a:solidFill>
                <a:hlinkClick r:id="rId31"/>
              </a:rPr>
              <a:t>-</a:t>
            </a:r>
            <a:r>
              <a:rPr lang="de-CH" sz="1200" dirty="0" err="1">
                <a:solidFill>
                  <a:prstClr val="black"/>
                </a:solidFill>
                <a:hlinkClick r:id="rId31"/>
              </a:rPr>
              <a:t>tlv</a:t>
            </a:r>
            <a:r>
              <a:rPr lang="de-CH" sz="1200" dirty="0">
                <a:solidFill>
                  <a:prstClr val="black"/>
                </a:solidFill>
              </a:rPr>
              <a:t>, </a:t>
            </a:r>
            <a:r>
              <a:rPr lang="de-CH" sz="1200" dirty="0">
                <a:solidFill>
                  <a:prstClr val="black"/>
                </a:solidFill>
                <a:hlinkClick r:id="rId32"/>
              </a:rPr>
              <a:t>draft-</a:t>
            </a:r>
            <a:r>
              <a:rPr lang="de-CH" sz="1200" dirty="0" err="1">
                <a:solidFill>
                  <a:prstClr val="black"/>
                </a:solidFill>
                <a:hlinkClick r:id="rId32"/>
              </a:rPr>
              <a:t>ietf</a:t>
            </a:r>
            <a:r>
              <a:rPr lang="de-CH" sz="1200" dirty="0">
                <a:solidFill>
                  <a:prstClr val="black"/>
                </a:solidFill>
                <a:hlinkClick r:id="rId32"/>
              </a:rPr>
              <a:t>-grow-</a:t>
            </a:r>
            <a:r>
              <a:rPr lang="de-CH" sz="1200" dirty="0" err="1">
                <a:solidFill>
                  <a:prstClr val="black"/>
                </a:solidFill>
                <a:hlinkClick r:id="rId32"/>
              </a:rPr>
              <a:t>bmp</a:t>
            </a:r>
            <a:r>
              <a:rPr lang="de-CH" sz="1200" dirty="0">
                <a:solidFill>
                  <a:prstClr val="black"/>
                </a:solidFill>
                <a:hlinkClick r:id="rId32"/>
              </a:rPr>
              <a:t>-</a:t>
            </a:r>
            <a:r>
              <a:rPr lang="de-CH" sz="1200" dirty="0" err="1">
                <a:solidFill>
                  <a:prstClr val="black"/>
                </a:solidFill>
                <a:hlinkClick r:id="rId32"/>
              </a:rPr>
              <a:t>path-marking-tlv</a:t>
            </a:r>
            <a:r>
              <a:rPr lang="de-CH" sz="1200" dirty="0">
                <a:solidFill>
                  <a:prstClr val="black"/>
                </a:solidFill>
              </a:rPr>
              <a:t>, </a:t>
            </a:r>
            <a:r>
              <a:rPr lang="de-CH" sz="1200" dirty="0">
                <a:solidFill>
                  <a:prstClr val="black"/>
                </a:solidFill>
                <a:hlinkClick r:id="rId33"/>
              </a:rPr>
              <a:t>draft-</a:t>
            </a:r>
            <a:r>
              <a:rPr lang="de-CH" sz="1200" dirty="0" err="1">
                <a:solidFill>
                  <a:prstClr val="black"/>
                </a:solidFill>
                <a:hlinkClick r:id="rId33"/>
              </a:rPr>
              <a:t>lucente</a:t>
            </a:r>
            <a:r>
              <a:rPr lang="de-CH" sz="1200" dirty="0">
                <a:solidFill>
                  <a:prstClr val="black"/>
                </a:solidFill>
                <a:hlinkClick r:id="rId33"/>
              </a:rPr>
              <a:t>-grow-</a:t>
            </a:r>
            <a:r>
              <a:rPr lang="de-CH" sz="1200" dirty="0" err="1">
                <a:solidFill>
                  <a:prstClr val="black"/>
                </a:solidFill>
                <a:hlinkClick r:id="rId33"/>
              </a:rPr>
              <a:t>bmp</a:t>
            </a:r>
            <a:r>
              <a:rPr lang="de-CH" sz="1200" dirty="0">
                <a:solidFill>
                  <a:prstClr val="black"/>
                </a:solidFill>
                <a:hlinkClick r:id="rId33"/>
              </a:rPr>
              <a:t>-</a:t>
            </a:r>
            <a:r>
              <a:rPr lang="de-CH" sz="1200" dirty="0" err="1">
                <a:solidFill>
                  <a:prstClr val="black"/>
                </a:solidFill>
                <a:hlinkClick r:id="rId33"/>
              </a:rPr>
              <a:t>rel</a:t>
            </a:r>
            <a:r>
              <a:rPr lang="de-CH" sz="1200" dirty="0">
                <a:solidFill>
                  <a:prstClr val="black"/>
                </a:solidFill>
              </a:rPr>
              <a:t>)</a:t>
            </a:r>
          </a:p>
          <a:p>
            <a:pPr>
              <a:defRPr/>
            </a:pPr>
            <a:r>
              <a:rPr lang="de-CH" sz="1200" b="1" dirty="0">
                <a:solidFill>
                  <a:prstClr val="black"/>
                </a:solidFill>
              </a:rPr>
              <a:t>YANG-Push </a:t>
            </a:r>
            <a:r>
              <a:rPr lang="de-CH" sz="1200" dirty="0">
                <a:solidFill>
                  <a:prstClr val="black"/>
                </a:solidFill>
              </a:rPr>
              <a:t>(</a:t>
            </a:r>
            <a:r>
              <a:rPr lang="de-CH" sz="1200" dirty="0">
                <a:solidFill>
                  <a:prstClr val="black"/>
                </a:solidFill>
                <a:hlinkClick r:id="rId34"/>
              </a:rPr>
              <a:t>RFC 8639</a:t>
            </a:r>
            <a:r>
              <a:rPr lang="de-CH" sz="1200" dirty="0">
                <a:solidFill>
                  <a:prstClr val="black"/>
                </a:solidFill>
              </a:rPr>
              <a:t>, </a:t>
            </a:r>
            <a:r>
              <a:rPr lang="de-CH" sz="1200" dirty="0">
                <a:solidFill>
                  <a:prstClr val="black"/>
                </a:solidFill>
                <a:hlinkClick r:id="rId35"/>
              </a:rPr>
              <a:t>RFC 8641</a:t>
            </a:r>
            <a:r>
              <a:rPr lang="de-CH" sz="1200" dirty="0">
                <a:solidFill>
                  <a:prstClr val="black"/>
                </a:solidFill>
              </a:rPr>
              <a:t>, </a:t>
            </a:r>
            <a:r>
              <a:rPr lang="de-CH" sz="1200" dirty="0">
                <a:solidFill>
                  <a:prstClr val="black"/>
                </a:solidFill>
                <a:hlinkClick r:id="rId36"/>
              </a:rPr>
              <a:t>draft-</a:t>
            </a:r>
            <a:r>
              <a:rPr lang="de-CH" sz="1200" dirty="0" err="1">
                <a:solidFill>
                  <a:prstClr val="black"/>
                </a:solidFill>
                <a:hlinkClick r:id="rId36"/>
              </a:rPr>
              <a:t>ietf</a:t>
            </a:r>
            <a:r>
              <a:rPr lang="de-CH" sz="1200" dirty="0">
                <a:solidFill>
                  <a:prstClr val="black"/>
                </a:solidFill>
                <a:hlinkClick r:id="rId36"/>
              </a:rPr>
              <a:t>-netconf-</a:t>
            </a:r>
            <a:r>
              <a:rPr lang="de-CH" sz="1200" dirty="0" err="1">
                <a:solidFill>
                  <a:prstClr val="black"/>
                </a:solidFill>
                <a:hlinkClick r:id="rId36"/>
              </a:rPr>
              <a:t>udp</a:t>
            </a:r>
            <a:r>
              <a:rPr lang="de-CH" sz="1200" dirty="0">
                <a:solidFill>
                  <a:prstClr val="black"/>
                </a:solidFill>
                <a:hlinkClick r:id="rId36"/>
              </a:rPr>
              <a:t>-</a:t>
            </a:r>
            <a:r>
              <a:rPr lang="de-CH" sz="1200" dirty="0" err="1">
                <a:solidFill>
                  <a:prstClr val="black"/>
                </a:solidFill>
                <a:hlinkClick r:id="rId36"/>
              </a:rPr>
              <a:t>notif</a:t>
            </a:r>
            <a:r>
              <a:rPr lang="de-CH" sz="1200" dirty="0">
                <a:solidFill>
                  <a:prstClr val="black"/>
                </a:solidFill>
              </a:rPr>
              <a:t>, </a:t>
            </a:r>
            <a:r>
              <a:rPr lang="de-CH" sz="1200" dirty="0">
                <a:solidFill>
                  <a:prstClr val="black"/>
                </a:solidFill>
                <a:hlinkClick r:id="rId37"/>
              </a:rPr>
              <a:t>draft-</a:t>
            </a:r>
            <a:r>
              <a:rPr lang="de-CH" sz="1200" dirty="0" err="1">
                <a:solidFill>
                  <a:prstClr val="black"/>
                </a:solidFill>
                <a:hlinkClick r:id="rId37"/>
              </a:rPr>
              <a:t>ietf</a:t>
            </a:r>
            <a:r>
              <a:rPr lang="de-CH" sz="1200" dirty="0">
                <a:solidFill>
                  <a:prstClr val="black"/>
                </a:solidFill>
                <a:hlinkClick r:id="rId37"/>
              </a:rPr>
              <a:t>-netconf-</a:t>
            </a:r>
            <a:r>
              <a:rPr lang="de-CH" sz="1200" dirty="0" err="1">
                <a:solidFill>
                  <a:prstClr val="black"/>
                </a:solidFill>
                <a:hlinkClick r:id="rId37"/>
              </a:rPr>
              <a:t>distributed</a:t>
            </a:r>
            <a:r>
              <a:rPr lang="de-CH" sz="1200" dirty="0">
                <a:solidFill>
                  <a:prstClr val="black"/>
                </a:solidFill>
                <a:hlinkClick r:id="rId37"/>
              </a:rPr>
              <a:t>-</a:t>
            </a:r>
            <a:r>
              <a:rPr lang="de-CH" sz="1200" dirty="0" err="1">
                <a:solidFill>
                  <a:prstClr val="black"/>
                </a:solidFill>
                <a:hlinkClick r:id="rId37"/>
              </a:rPr>
              <a:t>notif</a:t>
            </a:r>
            <a:r>
              <a:rPr lang="de-CH" sz="1200" dirty="0">
                <a:solidFill>
                  <a:prstClr val="black"/>
                </a:solidFill>
              </a:rPr>
              <a:t>, </a:t>
            </a:r>
            <a:r>
              <a:rPr lang="de-CH" sz="1200" dirty="0">
                <a:solidFill>
                  <a:prstClr val="black"/>
                </a:solidFill>
                <a:hlinkClick r:id="rId38"/>
              </a:rPr>
              <a:t>draft-</a:t>
            </a:r>
            <a:r>
              <a:rPr lang="de-CH" sz="1200" dirty="0" err="1">
                <a:solidFill>
                  <a:prstClr val="black"/>
                </a:solidFill>
                <a:hlinkClick r:id="rId38"/>
              </a:rPr>
              <a:t>ahuang</a:t>
            </a:r>
            <a:r>
              <a:rPr lang="de-CH" sz="1200" dirty="0">
                <a:solidFill>
                  <a:prstClr val="black"/>
                </a:solidFill>
                <a:hlinkClick r:id="rId38"/>
              </a:rPr>
              <a:t>-netconf-</a:t>
            </a:r>
            <a:r>
              <a:rPr lang="de-CH" sz="1200" dirty="0" err="1">
                <a:solidFill>
                  <a:prstClr val="black"/>
                </a:solidFill>
                <a:hlinkClick r:id="rId38"/>
              </a:rPr>
              <a:t>notif</a:t>
            </a:r>
            <a:r>
              <a:rPr lang="de-CH" sz="1200" dirty="0">
                <a:solidFill>
                  <a:prstClr val="black"/>
                </a:solidFill>
                <a:hlinkClick r:id="rId38"/>
              </a:rPr>
              <a:t>-</a:t>
            </a:r>
            <a:r>
              <a:rPr lang="de-CH" sz="1200" dirty="0" err="1">
                <a:solidFill>
                  <a:prstClr val="black"/>
                </a:solidFill>
                <a:hlinkClick r:id="rId38"/>
              </a:rPr>
              <a:t>yang</a:t>
            </a:r>
            <a:r>
              <a:rPr lang="de-CH" sz="1200" dirty="0">
                <a:solidFill>
                  <a:prstClr val="black"/>
                </a:solidFill>
              </a:rPr>
              <a:t>, </a:t>
            </a:r>
            <a:r>
              <a:rPr lang="de-CH" sz="1200" dirty="0">
                <a:solidFill>
                  <a:prstClr val="black"/>
                </a:solidFill>
                <a:hlinkClick r:id="rId39"/>
              </a:rPr>
              <a:t>draft-</a:t>
            </a:r>
            <a:r>
              <a:rPr lang="de-CH" sz="1200" dirty="0" err="1">
                <a:solidFill>
                  <a:prstClr val="black"/>
                </a:solidFill>
                <a:hlinkClick r:id="rId39"/>
              </a:rPr>
              <a:t>ietf</a:t>
            </a:r>
            <a:r>
              <a:rPr lang="de-CH" sz="1200" dirty="0">
                <a:solidFill>
                  <a:prstClr val="black"/>
                </a:solidFill>
                <a:hlinkClick r:id="rId39"/>
              </a:rPr>
              <a:t>-netconf-</a:t>
            </a:r>
            <a:r>
              <a:rPr lang="de-CH" sz="1200" dirty="0" err="1">
                <a:solidFill>
                  <a:prstClr val="black"/>
                </a:solidFill>
                <a:hlinkClick r:id="rId39"/>
              </a:rPr>
              <a:t>yang</a:t>
            </a:r>
            <a:r>
              <a:rPr lang="de-CH" sz="1200" dirty="0">
                <a:solidFill>
                  <a:prstClr val="black"/>
                </a:solidFill>
                <a:hlinkClick r:id="rId39"/>
              </a:rPr>
              <a:t>-</a:t>
            </a:r>
            <a:r>
              <a:rPr lang="de-CH" sz="1200" dirty="0" err="1">
                <a:solidFill>
                  <a:prstClr val="black"/>
                </a:solidFill>
                <a:hlinkClick r:id="rId39"/>
              </a:rPr>
              <a:t>notifications-versioning</a:t>
            </a:r>
            <a:r>
              <a:rPr lang="de-CH" sz="1200" dirty="0">
                <a:solidFill>
                  <a:prstClr val="black"/>
                </a:solidFill>
              </a:rPr>
              <a:t>, </a:t>
            </a:r>
            <a:r>
              <a:rPr lang="de-CH" sz="1200" dirty="0">
                <a:solidFill>
                  <a:prstClr val="black"/>
                </a:solidFill>
                <a:hlinkClick r:id="rId40"/>
              </a:rPr>
              <a:t>draft-</a:t>
            </a:r>
            <a:r>
              <a:rPr lang="de-CH" sz="1200" dirty="0" err="1">
                <a:solidFill>
                  <a:prstClr val="black"/>
                </a:solidFill>
                <a:hlinkClick r:id="rId40"/>
              </a:rPr>
              <a:t>tgraf</a:t>
            </a:r>
            <a:r>
              <a:rPr lang="de-CH" sz="1200" dirty="0">
                <a:solidFill>
                  <a:prstClr val="black"/>
                </a:solidFill>
                <a:hlinkClick r:id="rId40"/>
              </a:rPr>
              <a:t>-netconf-</a:t>
            </a:r>
            <a:r>
              <a:rPr lang="de-CH" sz="1200" dirty="0" err="1">
                <a:solidFill>
                  <a:prstClr val="black"/>
                </a:solidFill>
                <a:hlinkClick r:id="rId40"/>
              </a:rPr>
              <a:t>notif</a:t>
            </a:r>
            <a:r>
              <a:rPr lang="de-CH" sz="1200" dirty="0">
                <a:solidFill>
                  <a:prstClr val="black"/>
                </a:solidFill>
                <a:hlinkClick r:id="rId40"/>
              </a:rPr>
              <a:t>-</a:t>
            </a:r>
            <a:r>
              <a:rPr lang="de-CH" sz="1200" dirty="0" err="1">
                <a:solidFill>
                  <a:prstClr val="black"/>
                </a:solidFill>
                <a:hlinkClick r:id="rId40"/>
              </a:rPr>
              <a:t>sequencing</a:t>
            </a:r>
            <a:r>
              <a:rPr lang="de-CH" sz="1200" dirty="0">
                <a:solidFill>
                  <a:prstClr val="black"/>
                </a:solidFill>
              </a:rPr>
              <a:t>, </a:t>
            </a:r>
            <a:r>
              <a:rPr lang="de-CH" sz="1200" dirty="0">
                <a:solidFill>
                  <a:prstClr val="black"/>
                </a:solidFill>
                <a:hlinkClick r:id="rId41"/>
              </a:rPr>
              <a:t>draft-</a:t>
            </a:r>
            <a:r>
              <a:rPr lang="de-CH" sz="1200" dirty="0" err="1">
                <a:solidFill>
                  <a:prstClr val="black"/>
                </a:solidFill>
                <a:hlinkClick r:id="rId41"/>
              </a:rPr>
              <a:t>tgraf</a:t>
            </a:r>
            <a:r>
              <a:rPr lang="de-CH" sz="1200" dirty="0">
                <a:solidFill>
                  <a:prstClr val="black"/>
                </a:solidFill>
                <a:hlinkClick r:id="rId41"/>
              </a:rPr>
              <a:t>-netconf-</a:t>
            </a:r>
            <a:r>
              <a:rPr lang="de-CH" sz="1200" dirty="0" err="1">
                <a:solidFill>
                  <a:prstClr val="black"/>
                </a:solidFill>
                <a:hlinkClick r:id="rId41"/>
              </a:rPr>
              <a:t>yang</a:t>
            </a:r>
            <a:r>
              <a:rPr lang="de-CH" sz="1200" dirty="0">
                <a:solidFill>
                  <a:prstClr val="black"/>
                </a:solidFill>
                <a:hlinkClick r:id="rId41"/>
              </a:rPr>
              <a:t>-push-observation-time</a:t>
            </a:r>
            <a:r>
              <a:rPr lang="de-CH" sz="1200" dirty="0">
                <a:solidFill>
                  <a:prstClr val="black"/>
                </a:solidFill>
              </a:rPr>
              <a:t>)</a:t>
            </a:r>
          </a:p>
        </p:txBody>
      </p:sp>
      <p:sp>
        <p:nvSpPr>
          <p:cNvPr id="46" name="Rectangle 45">
            <a:extLst>
              <a:ext uri="{FF2B5EF4-FFF2-40B4-BE49-F238E27FC236}">
                <a16:creationId xmlns:a16="http://schemas.microsoft.com/office/drawing/2014/main" id="{739358FF-EF3C-19A5-B66E-56764914554A}"/>
              </a:ext>
            </a:extLst>
          </p:cNvPr>
          <p:cNvSpPr/>
          <p:nvPr/>
        </p:nvSpPr>
        <p:spPr bwMode="gray">
          <a:xfrm>
            <a:off x="6096000" y="4842000"/>
            <a:ext cx="4449694" cy="270701"/>
          </a:xfrm>
          <a:prstGeom prst="rect">
            <a:avLst/>
          </a:prstGeom>
          <a:noFill/>
          <a:ln w="6350" cap="flat" cmpd="sng" algn="ctr">
            <a:noFill/>
            <a:prstDash val="solid"/>
            <a:miter lim="800000"/>
          </a:ln>
          <a:effectLst/>
        </p:spPr>
        <p:txBody>
          <a:bodyPr rtlCol="0" anchor="ctr"/>
          <a:lstStyle/>
          <a:p>
            <a:pPr marL="0" marR="0" lvl="0" indent="0" algn="r" defTabSz="914400" eaLnBrk="1" fontAlgn="auto" latinLnBrk="0" hangingPunct="1">
              <a:lnSpc>
                <a:spcPct val="11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black"/>
                </a:solidFill>
                <a:effectLst/>
                <a:uLnTx/>
                <a:uFillTx/>
                <a:ea typeface="+mn-ea"/>
                <a:cs typeface="+mn-cs"/>
              </a:rPr>
              <a:t>Operational Data</a:t>
            </a:r>
            <a:br>
              <a:rPr kumimoji="0" lang="en-US" sz="1200" b="1" i="0" u="none" strike="noStrike" kern="0" cap="none" spc="0" normalizeH="0" baseline="0" noProof="0" dirty="0">
                <a:ln>
                  <a:noFill/>
                </a:ln>
                <a:solidFill>
                  <a:prstClr val="black"/>
                </a:solidFill>
                <a:effectLst/>
                <a:uLnTx/>
                <a:uFillTx/>
                <a:ea typeface="+mn-ea"/>
                <a:cs typeface="+mn-cs"/>
              </a:rPr>
            </a:br>
            <a:r>
              <a:rPr kumimoji="0" lang="en-US" sz="1200" i="0" u="none" strike="noStrike" kern="0" cap="none" spc="0" normalizeH="0" baseline="0" noProof="0" dirty="0">
                <a:ln>
                  <a:noFill/>
                </a:ln>
                <a:solidFill>
                  <a:prstClr val="black"/>
                </a:solidFill>
                <a:effectLst/>
                <a:uLnTx/>
                <a:uFillTx/>
                <a:ea typeface="+mn-ea"/>
                <a:cs typeface="+mn-cs"/>
                <a:hlinkClick r:id="rId42"/>
              </a:rPr>
              <a:t>draft-</a:t>
            </a:r>
            <a:r>
              <a:rPr kumimoji="0" lang="en-US" sz="1200" i="0" u="none" strike="noStrike" kern="0" cap="none" spc="0" normalizeH="0" baseline="0" noProof="0" dirty="0" err="1">
                <a:ln>
                  <a:noFill/>
                </a:ln>
                <a:solidFill>
                  <a:prstClr val="black"/>
                </a:solidFill>
                <a:effectLst/>
                <a:uLnTx/>
                <a:uFillTx/>
                <a:ea typeface="+mn-ea"/>
                <a:cs typeface="+mn-cs"/>
                <a:hlinkClick r:id="rId42"/>
              </a:rPr>
              <a:t>netana</a:t>
            </a:r>
            <a:r>
              <a:rPr kumimoji="0" lang="en-US" sz="1200" i="0" u="none" strike="noStrike" kern="0" cap="none" spc="0" normalizeH="0" baseline="0" noProof="0" dirty="0">
                <a:ln>
                  <a:noFill/>
                </a:ln>
                <a:solidFill>
                  <a:prstClr val="black"/>
                </a:solidFill>
                <a:effectLst/>
                <a:uLnTx/>
                <a:uFillTx/>
                <a:ea typeface="+mn-ea"/>
                <a:cs typeface="+mn-cs"/>
                <a:hlinkClick r:id="rId42"/>
              </a:rPr>
              <a:t>-</a:t>
            </a:r>
            <a:r>
              <a:rPr kumimoji="0" lang="en-US" sz="1200" i="0" u="none" strike="noStrike" kern="0" cap="none" spc="0" normalizeH="0" baseline="0" noProof="0" dirty="0" err="1">
                <a:ln>
                  <a:noFill/>
                </a:ln>
                <a:solidFill>
                  <a:prstClr val="black"/>
                </a:solidFill>
                <a:effectLst/>
                <a:uLnTx/>
                <a:uFillTx/>
                <a:ea typeface="+mn-ea"/>
                <a:cs typeface="+mn-cs"/>
                <a:hlinkClick r:id="rId42"/>
              </a:rPr>
              <a:t>nmop</a:t>
            </a:r>
            <a:r>
              <a:rPr kumimoji="0" lang="en-US" sz="1200" i="0" u="none" strike="noStrike" kern="0" cap="none" spc="0" normalizeH="0" baseline="0" noProof="0" dirty="0">
                <a:ln>
                  <a:noFill/>
                </a:ln>
                <a:solidFill>
                  <a:prstClr val="black"/>
                </a:solidFill>
                <a:effectLst/>
                <a:uLnTx/>
                <a:uFillTx/>
                <a:ea typeface="+mn-ea"/>
                <a:cs typeface="+mn-cs"/>
                <a:hlinkClick r:id="rId42"/>
              </a:rPr>
              <a:t>-yang-message-broker-integration</a:t>
            </a:r>
            <a:br>
              <a:rPr kumimoji="0" lang="en-US" sz="1200" b="1" i="0" u="none" strike="noStrike" kern="0" cap="none" spc="0" normalizeH="0" baseline="0" noProof="0" dirty="0">
                <a:ln>
                  <a:noFill/>
                </a:ln>
                <a:solidFill>
                  <a:prstClr val="black"/>
                </a:solidFill>
                <a:effectLst/>
                <a:uLnTx/>
                <a:uFillTx/>
                <a:ea typeface="+mn-ea"/>
                <a:cs typeface="+mn-cs"/>
              </a:rPr>
            </a:br>
            <a:endParaRPr kumimoji="0" lang="en-US" sz="1200" b="1" i="0" u="none" strike="noStrike" kern="0" cap="none" spc="0" normalizeH="0" baseline="0" noProof="0" dirty="0">
              <a:ln>
                <a:noFill/>
              </a:ln>
              <a:solidFill>
                <a:prstClr val="black"/>
              </a:solidFill>
              <a:effectLst/>
              <a:uLnTx/>
              <a:uFillTx/>
              <a:ea typeface="+mn-ea"/>
              <a:cs typeface="+mn-cs"/>
            </a:endParaRPr>
          </a:p>
        </p:txBody>
      </p:sp>
      <p:sp>
        <p:nvSpPr>
          <p:cNvPr id="51" name="Rectangle 50">
            <a:extLst>
              <a:ext uri="{FF2B5EF4-FFF2-40B4-BE49-F238E27FC236}">
                <a16:creationId xmlns:a16="http://schemas.microsoft.com/office/drawing/2014/main" id="{8B2D3939-F517-F366-148A-DF75104D4638}"/>
              </a:ext>
            </a:extLst>
          </p:cNvPr>
          <p:cNvSpPr/>
          <p:nvPr/>
        </p:nvSpPr>
        <p:spPr bwMode="gray">
          <a:xfrm>
            <a:off x="6084464" y="2618584"/>
            <a:ext cx="4449694" cy="270701"/>
          </a:xfrm>
          <a:prstGeom prst="rect">
            <a:avLst/>
          </a:prstGeom>
          <a:noFill/>
          <a:ln w="6350" cap="flat" cmpd="sng" algn="ctr">
            <a:noFill/>
            <a:prstDash val="solid"/>
            <a:miter lim="800000"/>
          </a:ln>
          <a:effectLst/>
        </p:spPr>
        <p:txBody>
          <a:bodyPr rtlCol="0" anchor="ctr"/>
          <a:lstStyle/>
          <a:p>
            <a:pPr marL="0" marR="0" lvl="0" indent="0" algn="r" defTabSz="914400" eaLnBrk="1" fontAlgn="auto" latinLnBrk="0" hangingPunct="1">
              <a:lnSpc>
                <a:spcPct val="11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black"/>
                </a:solidFill>
                <a:effectLst/>
                <a:uLnTx/>
                <a:uFillTx/>
                <a:ea typeface="+mn-ea"/>
                <a:cs typeface="+mn-cs"/>
              </a:rPr>
              <a:t>Analytical Data</a:t>
            </a:r>
            <a:br>
              <a:rPr kumimoji="0" lang="en-US" sz="1200" b="1" i="0" u="none" strike="noStrike" kern="0" cap="none" spc="0" normalizeH="0" baseline="0" noProof="0" dirty="0">
                <a:ln>
                  <a:noFill/>
                </a:ln>
                <a:solidFill>
                  <a:prstClr val="black"/>
                </a:solidFill>
                <a:effectLst/>
                <a:uLnTx/>
                <a:uFillTx/>
                <a:ea typeface="+mn-ea"/>
                <a:cs typeface="+mn-cs"/>
              </a:rPr>
            </a:br>
            <a:r>
              <a:rPr kumimoji="0" lang="en-US" sz="1200" i="0" u="none" strike="noStrike" kern="0" cap="none" spc="0" normalizeH="0" baseline="0" noProof="0" dirty="0">
                <a:ln>
                  <a:noFill/>
                </a:ln>
                <a:solidFill>
                  <a:prstClr val="black"/>
                </a:solidFill>
                <a:effectLst/>
                <a:uLnTx/>
                <a:uFillTx/>
                <a:ea typeface="+mn-ea"/>
                <a:cs typeface="+mn-cs"/>
                <a:hlinkClick r:id="rId42"/>
              </a:rPr>
              <a:t>draft-</a:t>
            </a:r>
            <a:r>
              <a:rPr kumimoji="0" lang="en-US" sz="1200" i="0" u="none" strike="noStrike" kern="0" cap="none" spc="0" normalizeH="0" baseline="0" noProof="0" dirty="0" err="1">
                <a:ln>
                  <a:noFill/>
                </a:ln>
                <a:solidFill>
                  <a:prstClr val="black"/>
                </a:solidFill>
                <a:effectLst/>
                <a:uLnTx/>
                <a:uFillTx/>
                <a:ea typeface="+mn-ea"/>
                <a:cs typeface="+mn-cs"/>
                <a:hlinkClick r:id="rId42"/>
              </a:rPr>
              <a:t>netana</a:t>
            </a:r>
            <a:r>
              <a:rPr kumimoji="0" lang="en-US" sz="1200" i="0" u="none" strike="noStrike" kern="0" cap="none" spc="0" normalizeH="0" baseline="0" noProof="0" dirty="0">
                <a:ln>
                  <a:noFill/>
                </a:ln>
                <a:solidFill>
                  <a:prstClr val="black"/>
                </a:solidFill>
                <a:effectLst/>
                <a:uLnTx/>
                <a:uFillTx/>
                <a:ea typeface="+mn-ea"/>
                <a:cs typeface="+mn-cs"/>
                <a:hlinkClick r:id="rId42"/>
              </a:rPr>
              <a:t>-</a:t>
            </a:r>
            <a:r>
              <a:rPr kumimoji="0" lang="en-US" sz="1200" i="0" u="none" strike="noStrike" kern="0" cap="none" spc="0" normalizeH="0" baseline="0" noProof="0" dirty="0" err="1">
                <a:ln>
                  <a:noFill/>
                </a:ln>
                <a:solidFill>
                  <a:prstClr val="black"/>
                </a:solidFill>
                <a:effectLst/>
                <a:uLnTx/>
                <a:uFillTx/>
                <a:ea typeface="+mn-ea"/>
                <a:cs typeface="+mn-cs"/>
                <a:hlinkClick r:id="rId42"/>
              </a:rPr>
              <a:t>nmop</a:t>
            </a:r>
            <a:r>
              <a:rPr kumimoji="0" lang="en-US" sz="1200" i="0" u="none" strike="noStrike" kern="0" cap="none" spc="0" normalizeH="0" baseline="0" noProof="0" dirty="0">
                <a:ln>
                  <a:noFill/>
                </a:ln>
                <a:solidFill>
                  <a:prstClr val="black"/>
                </a:solidFill>
                <a:effectLst/>
                <a:uLnTx/>
                <a:uFillTx/>
                <a:ea typeface="+mn-ea"/>
                <a:cs typeface="+mn-cs"/>
                <a:hlinkClick r:id="rId42"/>
              </a:rPr>
              <a:t>-yang-message-broker-integration</a:t>
            </a:r>
            <a:br>
              <a:rPr kumimoji="0" lang="en-US" sz="1200" b="1" i="0" u="none" strike="noStrike" kern="0" cap="none" spc="0" normalizeH="0" baseline="0" noProof="0" dirty="0">
                <a:ln>
                  <a:noFill/>
                </a:ln>
                <a:solidFill>
                  <a:prstClr val="black"/>
                </a:solidFill>
                <a:effectLst/>
                <a:uLnTx/>
                <a:uFillTx/>
                <a:ea typeface="+mn-ea"/>
                <a:cs typeface="+mn-cs"/>
              </a:rPr>
            </a:br>
            <a:endParaRPr kumimoji="0" lang="en-US" sz="1200" b="1" i="0" u="none" strike="noStrike" kern="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0810375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47"/>
        <p:cNvGrpSpPr/>
        <p:nvPr/>
      </p:nvGrpSpPr>
      <p:grpSpPr>
        <a:xfrm>
          <a:off x="0" y="0"/>
          <a:ext cx="0" cy="0"/>
          <a:chOff x="0" y="0"/>
          <a:chExt cx="0" cy="0"/>
        </a:xfrm>
      </p:grpSpPr>
      <p:sp>
        <p:nvSpPr>
          <p:cNvPr id="148" name="Google Shape;148;p19"/>
          <p:cNvSpPr txBox="1">
            <a:spLocks noGrp="1"/>
          </p:cNvSpPr>
          <p:nvPr>
            <p:ph type="title"/>
          </p:nvPr>
        </p:nvSpPr>
        <p:spPr>
          <a:xfrm>
            <a:off x="9910900" y="225567"/>
            <a:ext cx="2200000" cy="763600"/>
          </a:xfrm>
          <a:prstGeom prst="rect">
            <a:avLst/>
          </a:prstGeom>
        </p:spPr>
        <p:txBody>
          <a:bodyPr spcFirstLastPara="1" vert="horz" wrap="square" lIns="121900" tIns="121900" rIns="121900" bIns="121900" rtlCol="0" anchor="t" anchorCtr="0">
            <a:normAutofit fontScale="90000"/>
          </a:bodyPr>
          <a:lstStyle/>
          <a:p>
            <a:r>
              <a:rPr lang="it" sz="3100" b="1" dirty="0"/>
              <a:t>Detector</a:t>
            </a:r>
            <a:br>
              <a:rPr lang="it" dirty="0"/>
            </a:br>
            <a:r>
              <a:rPr lang="it" sz="2000" b="1" dirty="0"/>
              <a:t>(1 / 2)</a:t>
            </a:r>
            <a:endParaRPr sz="3100" b="1" dirty="0"/>
          </a:p>
        </p:txBody>
      </p:sp>
      <p:pic>
        <p:nvPicPr>
          <p:cNvPr id="149" name="Google Shape;149;p19"/>
          <p:cNvPicPr preferRelativeResize="0"/>
          <p:nvPr/>
        </p:nvPicPr>
        <p:blipFill>
          <a:blip r:embed="rId3">
            <a:alphaModFix/>
          </a:blip>
          <a:stretch>
            <a:fillRect/>
          </a:stretch>
        </p:blipFill>
        <p:spPr>
          <a:xfrm>
            <a:off x="140300" y="225567"/>
            <a:ext cx="7467600" cy="1689100"/>
          </a:xfrm>
          <a:prstGeom prst="rect">
            <a:avLst/>
          </a:prstGeom>
          <a:noFill/>
          <a:ln>
            <a:noFill/>
          </a:ln>
        </p:spPr>
      </p:pic>
      <p:pic>
        <p:nvPicPr>
          <p:cNvPr id="150" name="Google Shape;150;p19"/>
          <p:cNvPicPr preferRelativeResize="0"/>
          <p:nvPr/>
        </p:nvPicPr>
        <p:blipFill>
          <a:blip r:embed="rId4">
            <a:alphaModFix/>
          </a:blip>
          <a:stretch>
            <a:fillRect/>
          </a:stretch>
        </p:blipFill>
        <p:spPr>
          <a:xfrm>
            <a:off x="140300" y="2035251"/>
            <a:ext cx="6299200" cy="635000"/>
          </a:xfrm>
          <a:prstGeom prst="rect">
            <a:avLst/>
          </a:prstGeom>
          <a:noFill/>
          <a:ln>
            <a:noFill/>
          </a:ln>
        </p:spPr>
      </p:pic>
      <p:pic>
        <p:nvPicPr>
          <p:cNvPr id="151" name="Google Shape;151;p19"/>
          <p:cNvPicPr preferRelativeResize="0"/>
          <p:nvPr/>
        </p:nvPicPr>
        <p:blipFill>
          <a:blip r:embed="rId5">
            <a:alphaModFix/>
          </a:blip>
          <a:stretch>
            <a:fillRect/>
          </a:stretch>
        </p:blipFill>
        <p:spPr>
          <a:xfrm>
            <a:off x="140284" y="2790867"/>
            <a:ext cx="11911432" cy="3594733"/>
          </a:xfrm>
          <a:prstGeom prst="rect">
            <a:avLst/>
          </a:prstGeom>
          <a:noFill/>
          <a:ln>
            <a:noFill/>
          </a:ln>
        </p:spPr>
      </p:pic>
      <p:sp>
        <p:nvSpPr>
          <p:cNvPr id="152" name="Google Shape;152;p19"/>
          <p:cNvSpPr txBox="1"/>
          <p:nvPr/>
        </p:nvSpPr>
        <p:spPr>
          <a:xfrm>
            <a:off x="7667467" y="128033"/>
            <a:ext cx="1732800" cy="1169511"/>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Instantiate an anomaly detector</a:t>
            </a:r>
            <a:endParaRPr sz="2000">
              <a:solidFill>
                <a:schemeClr val="dk2"/>
              </a:solidFill>
            </a:endParaRPr>
          </a:p>
        </p:txBody>
      </p:sp>
      <p:sp>
        <p:nvSpPr>
          <p:cNvPr id="153" name="Google Shape;153;p19"/>
          <p:cNvSpPr txBox="1"/>
          <p:nvPr/>
        </p:nvSpPr>
        <p:spPr>
          <a:xfrm>
            <a:off x="6439500" y="2075767"/>
            <a:ext cx="48532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Run detection on telemetry data</a:t>
            </a:r>
            <a:endParaRPr sz="2000">
              <a:solidFill>
                <a:schemeClr val="dk2"/>
              </a:solidFill>
            </a:endParaRPr>
          </a:p>
        </p:txBody>
      </p:sp>
      <p:sp>
        <p:nvSpPr>
          <p:cNvPr id="154" name="Google Shape;154;p19"/>
          <p:cNvSpPr txBox="1"/>
          <p:nvPr/>
        </p:nvSpPr>
        <p:spPr>
          <a:xfrm>
            <a:off x="5610067" y="3140501"/>
            <a:ext cx="4853200" cy="861734"/>
          </a:xfrm>
          <a:prstGeom prst="rect">
            <a:avLst/>
          </a:prstGeom>
          <a:noFill/>
          <a:ln>
            <a:noFill/>
          </a:ln>
        </p:spPr>
        <p:txBody>
          <a:bodyPr spcFirstLastPara="1" wrap="square" lIns="121900" tIns="121900" rIns="121900" bIns="121900" anchor="t" anchorCtr="0">
            <a:spAutoFit/>
          </a:bodyPr>
          <a:lstStyle/>
          <a:p>
            <a:r>
              <a:rPr lang="it" sz="2000">
                <a:solidFill>
                  <a:schemeClr val="lt1"/>
                </a:solidFill>
              </a:rPr>
              <a:t>Store detected network anomalies on Antagonist</a:t>
            </a:r>
            <a:endParaRPr sz="2000">
              <a:solidFill>
                <a:schemeClr val="lt1"/>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pic>
        <p:nvPicPr>
          <p:cNvPr id="159" name="Google Shape;159;p20"/>
          <p:cNvPicPr preferRelativeResize="0"/>
          <p:nvPr/>
        </p:nvPicPr>
        <p:blipFill>
          <a:blip r:embed="rId3">
            <a:alphaModFix/>
          </a:blip>
          <a:stretch>
            <a:fillRect/>
          </a:stretch>
        </p:blipFill>
        <p:spPr>
          <a:xfrm>
            <a:off x="161467" y="803835"/>
            <a:ext cx="6437800" cy="5514733"/>
          </a:xfrm>
          <a:prstGeom prst="rect">
            <a:avLst/>
          </a:prstGeom>
          <a:noFill/>
          <a:ln>
            <a:noFill/>
          </a:ln>
        </p:spPr>
      </p:pic>
      <p:sp>
        <p:nvSpPr>
          <p:cNvPr id="160" name="Google Shape;160;p20"/>
          <p:cNvSpPr txBox="1">
            <a:spLocks noGrp="1"/>
          </p:cNvSpPr>
          <p:nvPr>
            <p:ph type="title"/>
          </p:nvPr>
        </p:nvSpPr>
        <p:spPr>
          <a:xfrm>
            <a:off x="9910900" y="225567"/>
            <a:ext cx="2200000" cy="763600"/>
          </a:xfrm>
          <a:prstGeom prst="rect">
            <a:avLst/>
          </a:prstGeom>
        </p:spPr>
        <p:txBody>
          <a:bodyPr spcFirstLastPara="1" vert="horz" wrap="square" lIns="121900" tIns="121900" rIns="121900" bIns="121900" rtlCol="0" anchor="t" anchorCtr="0">
            <a:noAutofit/>
          </a:bodyPr>
          <a:lstStyle/>
          <a:p>
            <a:r>
              <a:rPr lang="it" sz="2400" b="1" dirty="0"/>
              <a:t>Detector</a:t>
            </a:r>
            <a:br>
              <a:rPr lang="it" sz="2400" dirty="0"/>
            </a:br>
            <a:r>
              <a:rPr lang="it" sz="1800" b="1" dirty="0"/>
              <a:t>(1 / 2)</a:t>
            </a:r>
            <a:endParaRPr sz="1400" dirty="0"/>
          </a:p>
        </p:txBody>
      </p:sp>
      <p:sp>
        <p:nvSpPr>
          <p:cNvPr id="161" name="Google Shape;161;p20"/>
          <p:cNvSpPr txBox="1"/>
          <p:nvPr/>
        </p:nvSpPr>
        <p:spPr>
          <a:xfrm>
            <a:off x="296133" y="300401"/>
            <a:ext cx="49692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Store detected symptoms on Antagonist</a:t>
            </a:r>
            <a:endParaRPr sz="2000">
              <a:solidFill>
                <a:schemeClr val="dk2"/>
              </a:solidFill>
            </a:endParaRPr>
          </a:p>
        </p:txBody>
      </p:sp>
      <p:sp>
        <p:nvSpPr>
          <p:cNvPr id="162" name="Google Shape;162;p20"/>
          <p:cNvSpPr/>
          <p:nvPr/>
        </p:nvSpPr>
        <p:spPr>
          <a:xfrm>
            <a:off x="491633" y="1140700"/>
            <a:ext cx="3756800" cy="794400"/>
          </a:xfrm>
          <a:prstGeom prst="rect">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algn="ctr"/>
            <a:endParaRPr sz="2400"/>
          </a:p>
        </p:txBody>
      </p:sp>
      <p:sp>
        <p:nvSpPr>
          <p:cNvPr id="163" name="Google Shape;163;p20"/>
          <p:cNvSpPr txBox="1"/>
          <p:nvPr/>
        </p:nvSpPr>
        <p:spPr>
          <a:xfrm>
            <a:off x="7513400" y="1527534"/>
            <a:ext cx="42984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Set the tags for the Symptoms</a:t>
            </a:r>
            <a:endParaRPr sz="2000">
              <a:solidFill>
                <a:schemeClr val="dk2"/>
              </a:solidFill>
            </a:endParaRPr>
          </a:p>
        </p:txBody>
      </p:sp>
      <p:cxnSp>
        <p:nvCxnSpPr>
          <p:cNvPr id="164" name="Google Shape;164;p20"/>
          <p:cNvCxnSpPr>
            <a:stCxn id="163" idx="1"/>
            <a:endCxn id="162" idx="3"/>
          </p:cNvCxnSpPr>
          <p:nvPr/>
        </p:nvCxnSpPr>
        <p:spPr>
          <a:xfrm flipH="1" flipV="1">
            <a:off x="4248433" y="1537900"/>
            <a:ext cx="3264967" cy="266613"/>
          </a:xfrm>
          <a:prstGeom prst="straightConnector1">
            <a:avLst/>
          </a:prstGeom>
          <a:noFill/>
          <a:ln w="9525" cap="flat" cmpd="sng">
            <a:solidFill>
              <a:srgbClr val="FF0000"/>
            </a:solidFill>
            <a:prstDash val="solid"/>
            <a:round/>
            <a:headEnd type="none" w="med" len="med"/>
            <a:tailEnd type="triangle" w="med" len="med"/>
          </a:ln>
        </p:spPr>
      </p:cxnSp>
      <p:sp>
        <p:nvSpPr>
          <p:cNvPr id="165" name="Google Shape;165;p20"/>
          <p:cNvSpPr/>
          <p:nvPr/>
        </p:nvSpPr>
        <p:spPr>
          <a:xfrm>
            <a:off x="491633" y="2023833"/>
            <a:ext cx="5763200" cy="2198800"/>
          </a:xfrm>
          <a:prstGeom prst="rect">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algn="ctr"/>
            <a:endParaRPr sz="2400"/>
          </a:p>
        </p:txBody>
      </p:sp>
      <p:sp>
        <p:nvSpPr>
          <p:cNvPr id="166" name="Google Shape;166;p20"/>
          <p:cNvSpPr txBox="1"/>
          <p:nvPr/>
        </p:nvSpPr>
        <p:spPr>
          <a:xfrm>
            <a:off x="7335600" y="3152001"/>
            <a:ext cx="42984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Set the tags for the Symptoms</a:t>
            </a:r>
            <a:endParaRPr sz="2000">
              <a:solidFill>
                <a:schemeClr val="dk2"/>
              </a:solidFill>
            </a:endParaRPr>
          </a:p>
        </p:txBody>
      </p:sp>
      <p:cxnSp>
        <p:nvCxnSpPr>
          <p:cNvPr id="167" name="Google Shape;167;p20"/>
          <p:cNvCxnSpPr>
            <a:stCxn id="166" idx="1"/>
            <a:endCxn id="165" idx="3"/>
          </p:cNvCxnSpPr>
          <p:nvPr/>
        </p:nvCxnSpPr>
        <p:spPr>
          <a:xfrm flipH="1" flipV="1">
            <a:off x="6254833" y="3123233"/>
            <a:ext cx="1080767" cy="305747"/>
          </a:xfrm>
          <a:prstGeom prst="straightConnector1">
            <a:avLst/>
          </a:prstGeom>
          <a:noFill/>
          <a:ln w="9525" cap="flat" cmpd="sng">
            <a:solidFill>
              <a:srgbClr val="FF0000"/>
            </a:solidFill>
            <a:prstDash val="solid"/>
            <a:round/>
            <a:headEnd type="none" w="med" len="med"/>
            <a:tailEnd type="triangle" w="med" len="med"/>
          </a:ln>
        </p:spPr>
      </p:cxnSp>
      <p:sp>
        <p:nvSpPr>
          <p:cNvPr id="168" name="Google Shape;168;p20"/>
          <p:cNvSpPr/>
          <p:nvPr/>
        </p:nvSpPr>
        <p:spPr>
          <a:xfrm>
            <a:off x="491633" y="4274967"/>
            <a:ext cx="4428400" cy="929200"/>
          </a:xfrm>
          <a:prstGeom prst="rect">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algn="ctr"/>
            <a:endParaRPr sz="2400"/>
          </a:p>
        </p:txBody>
      </p:sp>
      <p:sp>
        <p:nvSpPr>
          <p:cNvPr id="169" name="Google Shape;169;p20"/>
          <p:cNvSpPr/>
          <p:nvPr/>
        </p:nvSpPr>
        <p:spPr>
          <a:xfrm>
            <a:off x="491633" y="5290467"/>
            <a:ext cx="5405200" cy="929200"/>
          </a:xfrm>
          <a:prstGeom prst="rect">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algn="ctr"/>
            <a:endParaRPr sz="2400"/>
          </a:p>
        </p:txBody>
      </p:sp>
      <p:sp>
        <p:nvSpPr>
          <p:cNvPr id="170" name="Google Shape;170;p20"/>
          <p:cNvSpPr txBox="1"/>
          <p:nvPr/>
        </p:nvSpPr>
        <p:spPr>
          <a:xfrm>
            <a:off x="6977633" y="4493851"/>
            <a:ext cx="42984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Post the symptom to Antagonist</a:t>
            </a:r>
            <a:endParaRPr sz="2000">
              <a:solidFill>
                <a:schemeClr val="dk2"/>
              </a:solidFill>
            </a:endParaRPr>
          </a:p>
        </p:txBody>
      </p:sp>
      <p:cxnSp>
        <p:nvCxnSpPr>
          <p:cNvPr id="171" name="Google Shape;171;p20"/>
          <p:cNvCxnSpPr>
            <a:stCxn id="170" idx="1"/>
            <a:endCxn id="168" idx="3"/>
          </p:cNvCxnSpPr>
          <p:nvPr/>
        </p:nvCxnSpPr>
        <p:spPr>
          <a:xfrm flipH="1" flipV="1">
            <a:off x="4920033" y="4739567"/>
            <a:ext cx="2057600" cy="31263"/>
          </a:xfrm>
          <a:prstGeom prst="straightConnector1">
            <a:avLst/>
          </a:prstGeom>
          <a:noFill/>
          <a:ln w="9525" cap="flat" cmpd="sng">
            <a:solidFill>
              <a:srgbClr val="FF0000"/>
            </a:solidFill>
            <a:prstDash val="solid"/>
            <a:round/>
            <a:headEnd type="none" w="med" len="med"/>
            <a:tailEnd type="triangle" w="med" len="med"/>
          </a:ln>
        </p:spPr>
      </p:cxnSp>
      <p:sp>
        <p:nvSpPr>
          <p:cNvPr id="172" name="Google Shape;172;p20"/>
          <p:cNvSpPr txBox="1"/>
          <p:nvPr/>
        </p:nvSpPr>
        <p:spPr>
          <a:xfrm>
            <a:off x="7216433" y="5835718"/>
            <a:ext cx="4298400" cy="861734"/>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Connect the network anomaly with the Symptom</a:t>
            </a:r>
            <a:endParaRPr sz="2000">
              <a:solidFill>
                <a:schemeClr val="dk2"/>
              </a:solidFill>
            </a:endParaRPr>
          </a:p>
        </p:txBody>
      </p:sp>
      <p:cxnSp>
        <p:nvCxnSpPr>
          <p:cNvPr id="173" name="Google Shape;173;p20"/>
          <p:cNvCxnSpPr>
            <a:stCxn id="172" idx="1"/>
            <a:endCxn id="169" idx="3"/>
          </p:cNvCxnSpPr>
          <p:nvPr/>
        </p:nvCxnSpPr>
        <p:spPr>
          <a:xfrm flipH="1" flipV="1">
            <a:off x="5896833" y="5755067"/>
            <a:ext cx="1319600" cy="511518"/>
          </a:xfrm>
          <a:prstGeom prst="straightConnector1">
            <a:avLst/>
          </a:prstGeom>
          <a:noFill/>
          <a:ln w="9525" cap="flat" cmpd="sng">
            <a:solidFill>
              <a:srgbClr val="FF0000"/>
            </a:solidFill>
            <a:prstDash val="solid"/>
            <a:round/>
            <a:headEnd type="none" w="med" len="med"/>
            <a:tailEnd type="triangle" w="med" len="med"/>
          </a:ln>
        </p:spPr>
      </p:cxn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sp>
        <p:nvSpPr>
          <p:cNvPr id="178" name="Google Shape;178;p21"/>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a:bodyPr>
          <a:lstStyle/>
          <a:p>
            <a:r>
              <a:rPr lang="it" sz="2800" b="1" dirty="0"/>
              <a:t>Generation of Dashboards</a:t>
            </a:r>
            <a:endParaRPr sz="2800" b="1" dirty="0"/>
          </a:p>
        </p:txBody>
      </p:sp>
      <p:pic>
        <p:nvPicPr>
          <p:cNvPr id="179" name="Google Shape;179;p21"/>
          <p:cNvPicPr preferRelativeResize="0"/>
          <p:nvPr/>
        </p:nvPicPr>
        <p:blipFill>
          <a:blip r:embed="rId3">
            <a:alphaModFix/>
          </a:blip>
          <a:stretch>
            <a:fillRect/>
          </a:stretch>
        </p:blipFill>
        <p:spPr>
          <a:xfrm>
            <a:off x="1" y="1414423"/>
            <a:ext cx="12192001" cy="3703088"/>
          </a:xfrm>
          <a:prstGeom prst="rect">
            <a:avLst/>
          </a:prstGeom>
          <a:noFill/>
          <a:ln>
            <a:noFill/>
          </a:ln>
        </p:spPr>
      </p:pic>
      <p:sp>
        <p:nvSpPr>
          <p:cNvPr id="180" name="Google Shape;180;p21"/>
          <p:cNvSpPr txBox="1"/>
          <p:nvPr/>
        </p:nvSpPr>
        <p:spPr>
          <a:xfrm>
            <a:off x="415600" y="5456801"/>
            <a:ext cx="11272800" cy="984845"/>
          </a:xfrm>
          <a:prstGeom prst="rect">
            <a:avLst/>
          </a:prstGeom>
          <a:noFill/>
          <a:ln>
            <a:noFill/>
          </a:ln>
        </p:spPr>
        <p:txBody>
          <a:bodyPr spcFirstLastPara="1" wrap="square" lIns="121900" tIns="121900" rIns="121900" bIns="121900" anchor="t" anchorCtr="0">
            <a:spAutoFit/>
          </a:bodyPr>
          <a:lstStyle/>
          <a:p>
            <a:r>
              <a:rPr lang="it" sz="2400" dirty="0"/>
              <a:t>The YANG model contains all the information that we need to automatically generate dashboards</a:t>
            </a:r>
            <a:endParaRPr sz="2400"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5" name="Google Shape;185;p22"/>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a:bodyPr>
          <a:lstStyle/>
          <a:p>
            <a:r>
              <a:rPr lang="it" sz="2800" b="1" dirty="0"/>
              <a:t>Label Validation - Tagging Network Anomalies</a:t>
            </a:r>
            <a:endParaRPr sz="2800" b="1" dirty="0"/>
          </a:p>
        </p:txBody>
      </p:sp>
      <p:sp>
        <p:nvSpPr>
          <p:cNvPr id="186" name="Google Shape;186;p22"/>
          <p:cNvSpPr txBox="1">
            <a:spLocks noGrp="1"/>
          </p:cNvSpPr>
          <p:nvPr>
            <p:ph type="body" idx="1"/>
          </p:nvPr>
        </p:nvSpPr>
        <p:spPr>
          <a:xfrm>
            <a:off x="415600" y="1536633"/>
            <a:ext cx="11360800" cy="4555200"/>
          </a:xfrm>
          <a:prstGeom prst="rect">
            <a:avLst/>
          </a:prstGeom>
        </p:spPr>
        <p:txBody>
          <a:bodyPr spcFirstLastPara="1" vert="horz" wrap="square" lIns="121900" tIns="121900" rIns="121900" bIns="121900" rtlCol="0" anchor="t" anchorCtr="0">
            <a:normAutofit/>
          </a:bodyPr>
          <a:lstStyle/>
          <a:p>
            <a:pPr marL="0" indent="0">
              <a:spcAft>
                <a:spcPts val="1600"/>
              </a:spcAft>
              <a:buNone/>
            </a:pPr>
            <a:endParaRPr/>
          </a:p>
        </p:txBody>
      </p:sp>
      <p:pic>
        <p:nvPicPr>
          <p:cNvPr id="187" name="Google Shape;187;p22"/>
          <p:cNvPicPr preferRelativeResize="0"/>
          <p:nvPr/>
        </p:nvPicPr>
        <p:blipFill>
          <a:blip r:embed="rId3">
            <a:alphaModFix/>
          </a:blip>
          <a:stretch>
            <a:fillRect/>
          </a:stretch>
        </p:blipFill>
        <p:spPr>
          <a:xfrm>
            <a:off x="0" y="1298660"/>
            <a:ext cx="12192000" cy="5559347"/>
          </a:xfrm>
          <a:prstGeom prst="rect">
            <a:avLst/>
          </a:prstGeom>
          <a:noFill/>
          <a:ln>
            <a:no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23"/>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a:bodyPr>
          <a:lstStyle/>
          <a:p>
            <a:r>
              <a:rPr lang="it" sz="2800" b="1" dirty="0"/>
              <a:t>Label Validation - Tagging Symptoms</a:t>
            </a:r>
            <a:endParaRPr sz="2800" b="1" dirty="0"/>
          </a:p>
        </p:txBody>
      </p:sp>
      <p:pic>
        <p:nvPicPr>
          <p:cNvPr id="193" name="Google Shape;193;p23"/>
          <p:cNvPicPr preferRelativeResize="0"/>
          <p:nvPr/>
        </p:nvPicPr>
        <p:blipFill>
          <a:blip r:embed="rId3">
            <a:alphaModFix/>
          </a:blip>
          <a:stretch>
            <a:fillRect/>
          </a:stretch>
        </p:blipFill>
        <p:spPr>
          <a:xfrm>
            <a:off x="1" y="1070667"/>
            <a:ext cx="12192001" cy="5821808"/>
          </a:xfrm>
          <a:prstGeom prst="rect">
            <a:avLst/>
          </a:prstGeom>
          <a:noFill/>
          <a:ln>
            <a:noFill/>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sp>
        <p:nvSpPr>
          <p:cNvPr id="198" name="Google Shape;198;p24"/>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a:bodyPr>
          <a:lstStyle/>
          <a:p>
            <a:r>
              <a:rPr lang="it" sz="2800" b="1" dirty="0"/>
              <a:t>Label Validation - Analysing and editing network anomalies</a:t>
            </a:r>
            <a:endParaRPr sz="2800" b="1" dirty="0"/>
          </a:p>
        </p:txBody>
      </p:sp>
      <p:pic>
        <p:nvPicPr>
          <p:cNvPr id="199" name="Google Shape;199;p24"/>
          <p:cNvPicPr preferRelativeResize="0"/>
          <p:nvPr/>
        </p:nvPicPr>
        <p:blipFill>
          <a:blip r:embed="rId3">
            <a:alphaModFix/>
          </a:blip>
          <a:stretch>
            <a:fillRect/>
          </a:stretch>
        </p:blipFill>
        <p:spPr>
          <a:xfrm>
            <a:off x="1122818" y="1052167"/>
            <a:ext cx="9946367" cy="5631535"/>
          </a:xfrm>
          <a:prstGeom prst="rect">
            <a:avLst/>
          </a:prstGeom>
          <a:noFill/>
          <a:ln>
            <a:noFill/>
          </a:ln>
        </p:spPr>
      </p:pic>
      <p:sp>
        <p:nvSpPr>
          <p:cNvPr id="200" name="Google Shape;200;p24"/>
          <p:cNvSpPr/>
          <p:nvPr/>
        </p:nvSpPr>
        <p:spPr>
          <a:xfrm>
            <a:off x="4748800" y="1958433"/>
            <a:ext cx="2694400" cy="7716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000" dirty="0"/>
              <a:t>List of all the</a:t>
            </a:r>
            <a:br>
              <a:rPr lang="it" sz="2000" dirty="0"/>
            </a:br>
            <a:r>
              <a:rPr lang="it" sz="2000" dirty="0"/>
              <a:t>Network Anomalies</a:t>
            </a:r>
            <a:endParaRPr sz="2000" dirty="0"/>
          </a:p>
        </p:txBody>
      </p:sp>
      <p:sp>
        <p:nvSpPr>
          <p:cNvPr id="201" name="Google Shape;201;p24"/>
          <p:cNvSpPr/>
          <p:nvPr/>
        </p:nvSpPr>
        <p:spPr>
          <a:xfrm>
            <a:off x="1570500" y="4213500"/>
            <a:ext cx="3882000" cy="6068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dirty="0"/>
              <a:t>List of all the</a:t>
            </a:r>
            <a:br>
              <a:rPr lang="it" dirty="0"/>
            </a:br>
            <a:r>
              <a:rPr lang="it" dirty="0"/>
              <a:t>Reviews of the network anomaly</a:t>
            </a:r>
            <a:endParaRPr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sp>
        <p:nvSpPr>
          <p:cNvPr id="206" name="Google Shape;206;p25"/>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fontScale="90000"/>
          </a:bodyPr>
          <a:lstStyle/>
          <a:p>
            <a:r>
              <a:rPr lang="it" sz="3100" b="1" dirty="0"/>
              <a:t>Label Validation - Analysing and editing network </a:t>
            </a:r>
            <a:r>
              <a:rPr lang="it" dirty="0"/>
              <a:t>anomalies</a:t>
            </a:r>
            <a:endParaRPr dirty="0"/>
          </a:p>
        </p:txBody>
      </p:sp>
      <p:pic>
        <p:nvPicPr>
          <p:cNvPr id="207" name="Google Shape;207;p25"/>
          <p:cNvPicPr preferRelativeResize="0"/>
          <p:nvPr/>
        </p:nvPicPr>
        <p:blipFill>
          <a:blip r:embed="rId3">
            <a:alphaModFix/>
          </a:blip>
          <a:stretch>
            <a:fillRect/>
          </a:stretch>
        </p:blipFill>
        <p:spPr>
          <a:xfrm>
            <a:off x="0" y="945334"/>
            <a:ext cx="12191997" cy="5397725"/>
          </a:xfrm>
          <a:prstGeom prst="rect">
            <a:avLst/>
          </a:prstGeom>
          <a:noFill/>
          <a:ln>
            <a:noFill/>
          </a:ln>
        </p:spPr>
      </p:pic>
      <p:sp>
        <p:nvSpPr>
          <p:cNvPr id="208" name="Google Shape;208;p25"/>
          <p:cNvSpPr txBox="1"/>
          <p:nvPr/>
        </p:nvSpPr>
        <p:spPr>
          <a:xfrm>
            <a:off x="157800" y="6283201"/>
            <a:ext cx="11876400" cy="574412"/>
          </a:xfrm>
          <a:prstGeom prst="rect">
            <a:avLst/>
          </a:prstGeom>
          <a:noFill/>
          <a:ln>
            <a:noFill/>
          </a:ln>
        </p:spPr>
        <p:txBody>
          <a:bodyPr spcFirstLastPara="1" wrap="square" lIns="121900" tIns="121900" rIns="121900" bIns="121900" anchor="t" anchorCtr="0">
            <a:spAutoFit/>
          </a:bodyPr>
          <a:lstStyle/>
          <a:p>
            <a:pPr algn="ctr"/>
            <a:r>
              <a:rPr lang="it" sz="2133" dirty="0"/>
              <a:t>False Positives and False Negatives can be managed and corrected easily</a:t>
            </a:r>
            <a:endParaRPr sz="2133"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sp>
        <p:nvSpPr>
          <p:cNvPr id="213" name="Google Shape;213;p26"/>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it" sz="2800" b="1" dirty="0"/>
              <a:t>Refinement (Retraining)</a:t>
            </a:r>
            <a:endParaRPr sz="2800" b="1" dirty="0"/>
          </a:p>
        </p:txBody>
      </p:sp>
      <p:pic>
        <p:nvPicPr>
          <p:cNvPr id="214" name="Google Shape;214;p26"/>
          <p:cNvPicPr preferRelativeResize="0"/>
          <p:nvPr/>
        </p:nvPicPr>
        <p:blipFill>
          <a:blip r:embed="rId3">
            <a:alphaModFix/>
          </a:blip>
          <a:stretch>
            <a:fillRect/>
          </a:stretch>
        </p:blipFill>
        <p:spPr>
          <a:xfrm>
            <a:off x="189267" y="1356967"/>
            <a:ext cx="6858000" cy="2997200"/>
          </a:xfrm>
          <a:prstGeom prst="rect">
            <a:avLst/>
          </a:prstGeom>
          <a:noFill/>
          <a:ln>
            <a:noFill/>
          </a:ln>
        </p:spPr>
      </p:pic>
      <p:pic>
        <p:nvPicPr>
          <p:cNvPr id="215" name="Google Shape;215;p26"/>
          <p:cNvPicPr preferRelativeResize="0"/>
          <p:nvPr/>
        </p:nvPicPr>
        <p:blipFill>
          <a:blip r:embed="rId4">
            <a:alphaModFix/>
          </a:blip>
          <a:stretch>
            <a:fillRect/>
          </a:stretch>
        </p:blipFill>
        <p:spPr>
          <a:xfrm>
            <a:off x="203200" y="4557367"/>
            <a:ext cx="8839200" cy="2057400"/>
          </a:xfrm>
          <a:prstGeom prst="rect">
            <a:avLst/>
          </a:prstGeom>
          <a:noFill/>
          <a:ln>
            <a:noFill/>
          </a:ln>
        </p:spPr>
      </p:pic>
      <p:sp>
        <p:nvSpPr>
          <p:cNvPr id="216" name="Google Shape;216;p26"/>
          <p:cNvSpPr/>
          <p:nvPr/>
        </p:nvSpPr>
        <p:spPr>
          <a:xfrm>
            <a:off x="7522300" y="1356967"/>
            <a:ext cx="3754000" cy="8932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000" dirty="0"/>
              <a:t>Get the symptom generated by humans</a:t>
            </a:r>
            <a:endParaRPr sz="2000" dirty="0"/>
          </a:p>
        </p:txBody>
      </p:sp>
      <p:sp>
        <p:nvSpPr>
          <p:cNvPr id="217" name="Google Shape;217;p26"/>
          <p:cNvSpPr/>
          <p:nvPr/>
        </p:nvSpPr>
        <p:spPr>
          <a:xfrm>
            <a:off x="9348300" y="4557567"/>
            <a:ext cx="2529600" cy="20572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000"/>
              <a:t>Train a new model</a:t>
            </a:r>
            <a:endParaRPr sz="2000"/>
          </a:p>
          <a:p>
            <a:pPr algn="ctr"/>
            <a:r>
              <a:rPr lang="it" sz="2000"/>
              <a:t>(which can then be compared with previous one - or others)</a:t>
            </a:r>
            <a:endParaRPr sz="200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21"/>
        <p:cNvGrpSpPr/>
        <p:nvPr/>
      </p:nvGrpSpPr>
      <p:grpSpPr>
        <a:xfrm>
          <a:off x="0" y="0"/>
          <a:ext cx="0" cy="0"/>
          <a:chOff x="0" y="0"/>
          <a:chExt cx="0" cy="0"/>
        </a:xfrm>
      </p:grpSpPr>
      <p:sp>
        <p:nvSpPr>
          <p:cNvPr id="222" name="Google Shape;222;p27"/>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it" sz="2800" b="1" dirty="0"/>
              <a:t>SAIN (1 / 2)</a:t>
            </a:r>
            <a:endParaRPr sz="2800" b="1" dirty="0"/>
          </a:p>
        </p:txBody>
      </p:sp>
      <p:pic>
        <p:nvPicPr>
          <p:cNvPr id="223" name="Google Shape;223;p27"/>
          <p:cNvPicPr preferRelativeResize="0"/>
          <p:nvPr/>
        </p:nvPicPr>
        <p:blipFill>
          <a:blip r:embed="rId3">
            <a:alphaModFix/>
          </a:blip>
          <a:stretch>
            <a:fillRect/>
          </a:stretch>
        </p:blipFill>
        <p:spPr>
          <a:xfrm>
            <a:off x="262934" y="2576181"/>
            <a:ext cx="6123660" cy="4101352"/>
          </a:xfrm>
          <a:prstGeom prst="rect">
            <a:avLst/>
          </a:prstGeom>
          <a:noFill/>
          <a:ln>
            <a:noFill/>
          </a:ln>
        </p:spPr>
      </p:pic>
      <p:pic>
        <p:nvPicPr>
          <p:cNvPr id="224" name="Google Shape;224;p27"/>
          <p:cNvPicPr preferRelativeResize="0"/>
          <p:nvPr/>
        </p:nvPicPr>
        <p:blipFill rotWithShape="1">
          <a:blip r:embed="rId4">
            <a:alphaModFix/>
          </a:blip>
          <a:srcRect t="-10760" b="10759"/>
          <a:stretch/>
        </p:blipFill>
        <p:spPr>
          <a:xfrm>
            <a:off x="6581587" y="2310967"/>
            <a:ext cx="5396547" cy="2465356"/>
          </a:xfrm>
          <a:prstGeom prst="rect">
            <a:avLst/>
          </a:prstGeom>
          <a:noFill/>
          <a:ln>
            <a:noFill/>
          </a:ln>
        </p:spPr>
      </p:pic>
      <p:sp>
        <p:nvSpPr>
          <p:cNvPr id="225" name="Google Shape;225;p27"/>
          <p:cNvSpPr/>
          <p:nvPr/>
        </p:nvSpPr>
        <p:spPr>
          <a:xfrm>
            <a:off x="262933" y="1458567"/>
            <a:ext cx="6123600" cy="8588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400"/>
              <a:t>The SAIN Agent defines symptoms and pushes them into the Label Store</a:t>
            </a:r>
            <a:endParaRPr sz="2400"/>
          </a:p>
        </p:txBody>
      </p:sp>
      <p:sp>
        <p:nvSpPr>
          <p:cNvPr id="226" name="Google Shape;226;p27"/>
          <p:cNvSpPr/>
          <p:nvPr/>
        </p:nvSpPr>
        <p:spPr>
          <a:xfrm>
            <a:off x="6581667" y="1452167"/>
            <a:ext cx="5396400" cy="8588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400"/>
              <a:t>A network anomaly is created to group those symptoms together</a:t>
            </a:r>
            <a:endParaRPr sz="240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30"/>
        <p:cNvGrpSpPr/>
        <p:nvPr/>
      </p:nvGrpSpPr>
      <p:grpSpPr>
        <a:xfrm>
          <a:off x="0" y="0"/>
          <a:ext cx="0" cy="0"/>
          <a:chOff x="0" y="0"/>
          <a:chExt cx="0" cy="0"/>
        </a:xfrm>
      </p:grpSpPr>
      <p:sp>
        <p:nvSpPr>
          <p:cNvPr id="231" name="Google Shape;231;p28"/>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it" sz="2800" b="1" dirty="0"/>
              <a:t>SAIN (2 / 2)</a:t>
            </a:r>
            <a:endParaRPr sz="2800" b="1" dirty="0"/>
          </a:p>
        </p:txBody>
      </p:sp>
      <p:pic>
        <p:nvPicPr>
          <p:cNvPr id="232" name="Google Shape;232;p28"/>
          <p:cNvPicPr preferRelativeResize="0"/>
          <p:nvPr/>
        </p:nvPicPr>
        <p:blipFill>
          <a:blip r:embed="rId3">
            <a:alphaModFix/>
          </a:blip>
          <a:stretch>
            <a:fillRect/>
          </a:stretch>
        </p:blipFill>
        <p:spPr>
          <a:xfrm>
            <a:off x="682518" y="3173867"/>
            <a:ext cx="4686300" cy="2743200"/>
          </a:xfrm>
          <a:prstGeom prst="rect">
            <a:avLst/>
          </a:prstGeom>
          <a:noFill/>
          <a:ln>
            <a:noFill/>
          </a:ln>
        </p:spPr>
      </p:pic>
      <p:sp>
        <p:nvSpPr>
          <p:cNvPr id="233" name="Google Shape;233;p28"/>
          <p:cNvSpPr/>
          <p:nvPr/>
        </p:nvSpPr>
        <p:spPr>
          <a:xfrm>
            <a:off x="753633" y="1961667"/>
            <a:ext cx="4615200" cy="10304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a:t>A Network Engineer does the validation and deems the network anomaly to actually be a problem</a:t>
            </a:r>
            <a:endParaRPr/>
          </a:p>
        </p:txBody>
      </p:sp>
      <p:pic>
        <p:nvPicPr>
          <p:cNvPr id="234" name="Google Shape;234;p28"/>
          <p:cNvPicPr preferRelativeResize="0"/>
          <p:nvPr/>
        </p:nvPicPr>
        <p:blipFill>
          <a:blip r:embed="rId4">
            <a:alphaModFix/>
          </a:blip>
          <a:stretch>
            <a:fillRect/>
          </a:stretch>
        </p:blipFill>
        <p:spPr>
          <a:xfrm>
            <a:off x="6897851" y="1538101"/>
            <a:ext cx="4792920" cy="5094633"/>
          </a:xfrm>
          <a:prstGeom prst="rect">
            <a:avLst/>
          </a:prstGeom>
          <a:noFill/>
          <a:ln>
            <a:noFill/>
          </a:ln>
        </p:spPr>
      </p:pic>
      <p:sp>
        <p:nvSpPr>
          <p:cNvPr id="235" name="Google Shape;235;p28"/>
          <p:cNvSpPr/>
          <p:nvPr/>
        </p:nvSpPr>
        <p:spPr>
          <a:xfrm>
            <a:off x="6096000" y="161367"/>
            <a:ext cx="5594800" cy="11956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dirty="0"/>
              <a:t>A Network Engineer in the post-mortem analysis, discovers another symptom that would have helped identifying the root cause faster. </a:t>
            </a:r>
            <a:br>
              <a:rPr lang="it" dirty="0"/>
            </a:br>
            <a:r>
              <a:rPr lang="it" dirty="0"/>
              <a:t>This symptom is added to the list.</a:t>
            </a:r>
            <a:endParaRPr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AEE21E-0CF2-4355-A68A-655C5FDE8F93}"/>
              </a:ext>
            </a:extLst>
          </p:cNvPr>
          <p:cNvSpPr txBox="1">
            <a:spLocks/>
          </p:cNvSpPr>
          <p:nvPr/>
        </p:nvSpPr>
        <p:spPr bwMode="black">
          <a:xfrm>
            <a:off x="1370214" y="1690688"/>
            <a:ext cx="3717175" cy="13490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t>« Network operators </a:t>
            </a:r>
            <a:r>
              <a:rPr lang="en-US" sz="2400" b="1" dirty="0">
                <a:solidFill>
                  <a:srgbClr val="FF0000"/>
                </a:solidFill>
              </a:rPr>
              <a:t>connect customers in </a:t>
            </a:r>
            <a:r>
              <a:rPr lang="en-US" sz="2400" b="1" dirty="0"/>
              <a:t>routing tables called </a:t>
            </a:r>
            <a:r>
              <a:rPr lang="en-US" sz="2400" b="1" dirty="0">
                <a:solidFill>
                  <a:srgbClr val="FF0000"/>
                </a:solidFill>
              </a:rPr>
              <a:t>Connectivity Services</a:t>
            </a:r>
            <a:r>
              <a:rPr lang="en-US" sz="2400" b="1" dirty="0"/>
              <a:t> </a:t>
            </a:r>
            <a:r>
              <a:rPr lang="de-CH" sz="2400" b="1" dirty="0"/>
              <a:t>»</a:t>
            </a:r>
            <a:endParaRPr lang="en-US" sz="2400" b="1" dirty="0"/>
          </a:p>
        </p:txBody>
      </p:sp>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pic>
        <p:nvPicPr>
          <p:cNvPr id="7" name="Picture 6">
            <a:extLst>
              <a:ext uri="{FF2B5EF4-FFF2-40B4-BE49-F238E27FC236}">
                <a16:creationId xmlns:a16="http://schemas.microsoft.com/office/drawing/2014/main" id="{EABEFBDA-754E-5E90-E343-A2FC2B103139}"/>
              </a:ext>
            </a:extLst>
          </p:cNvPr>
          <p:cNvPicPr>
            <a:picLocks noChangeAspect="1"/>
          </p:cNvPicPr>
          <p:nvPr/>
        </p:nvPicPr>
        <p:blipFill>
          <a:blip r:embed="rId2"/>
          <a:stretch>
            <a:fillRect/>
          </a:stretch>
        </p:blipFill>
        <p:spPr>
          <a:xfrm>
            <a:off x="1669974" y="3252403"/>
            <a:ext cx="2981196" cy="3090762"/>
          </a:xfrm>
          <a:prstGeom prst="rect">
            <a:avLst/>
          </a:prstGeom>
        </p:spPr>
      </p:pic>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What to monitor</a:t>
            </a:r>
            <a:br>
              <a:rPr lang="en-GB" sz="3600" dirty="0"/>
            </a:br>
            <a:r>
              <a:rPr lang="en-US" sz="2700" dirty="0">
                <a:solidFill>
                  <a:schemeClr val="bg2">
                    <a:lumMod val="75000"/>
                  </a:schemeClr>
                </a:solidFill>
              </a:rPr>
              <a:t>Which operational metrics are collected</a:t>
            </a:r>
          </a:p>
        </p:txBody>
      </p:sp>
      <p:pic>
        <p:nvPicPr>
          <p:cNvPr id="14" name="Picture 13">
            <a:extLst>
              <a:ext uri="{FF2B5EF4-FFF2-40B4-BE49-F238E27FC236}">
                <a16:creationId xmlns:a16="http://schemas.microsoft.com/office/drawing/2014/main" id="{0546AC53-5398-E0CF-0807-B7B55276F143}"/>
              </a:ext>
            </a:extLst>
          </p:cNvPr>
          <p:cNvPicPr>
            <a:picLocks noChangeAspect="1"/>
          </p:cNvPicPr>
          <p:nvPr/>
        </p:nvPicPr>
        <p:blipFill>
          <a:blip r:embed="rId3"/>
          <a:stretch>
            <a:fillRect/>
          </a:stretch>
        </p:blipFill>
        <p:spPr>
          <a:xfrm>
            <a:off x="6009197" y="3125586"/>
            <a:ext cx="4297468" cy="3090762"/>
          </a:xfrm>
          <a:prstGeom prst="rect">
            <a:avLst/>
          </a:prstGeom>
        </p:spPr>
      </p:pic>
      <p:sp>
        <p:nvSpPr>
          <p:cNvPr id="16" name="TextBox 15">
            <a:extLst>
              <a:ext uri="{FF2B5EF4-FFF2-40B4-BE49-F238E27FC236}">
                <a16:creationId xmlns:a16="http://schemas.microsoft.com/office/drawing/2014/main" id="{54281388-E93D-AC26-49A1-DA5D5EEB0D3B}"/>
              </a:ext>
            </a:extLst>
          </p:cNvPr>
          <p:cNvSpPr txBox="1"/>
          <p:nvPr/>
        </p:nvSpPr>
        <p:spPr>
          <a:xfrm>
            <a:off x="5378334" y="1690688"/>
            <a:ext cx="5503025" cy="1200329"/>
          </a:xfrm>
          <a:prstGeom prst="rect">
            <a:avLst/>
          </a:prstGeom>
          <a:noFill/>
        </p:spPr>
        <p:txBody>
          <a:bodyPr wrap="square">
            <a:spAutoFit/>
          </a:bodyPr>
          <a:lstStyle/>
          <a:p>
            <a:pPr algn="ctr"/>
            <a:r>
              <a:rPr lang="en-US" sz="2400" b="1" dirty="0">
                <a:latin typeface="+mj-lt"/>
              </a:rPr>
              <a:t>« Network Telemetry </a:t>
            </a:r>
            <a:br>
              <a:rPr lang="en-US" sz="2400" b="1" dirty="0">
                <a:latin typeface="+mj-lt"/>
              </a:rPr>
            </a:br>
            <a:r>
              <a:rPr lang="en-US" sz="2400" b="1" dirty="0">
                <a:latin typeface="+mj-lt"/>
              </a:rPr>
              <a:t>(</a:t>
            </a:r>
            <a:r>
              <a:rPr lang="en-US" sz="2400" b="1" dirty="0">
                <a:solidFill>
                  <a:srgbClr val="FF0000"/>
                </a:solidFill>
                <a:latin typeface="+mj-lt"/>
              </a:rPr>
              <a:t>RFC 9232</a:t>
            </a:r>
            <a:r>
              <a:rPr lang="en-US" sz="2400" b="1" dirty="0">
                <a:latin typeface="+mj-lt"/>
              </a:rPr>
              <a:t>) describes how to collect data from </a:t>
            </a:r>
            <a:r>
              <a:rPr lang="en-US" sz="2400" b="1" dirty="0">
                <a:solidFill>
                  <a:srgbClr val="FF0000"/>
                </a:solidFill>
                <a:latin typeface="+mj-lt"/>
              </a:rPr>
              <a:t>all 3 network planes </a:t>
            </a:r>
            <a:r>
              <a:rPr lang="en-US" sz="2400" b="1" dirty="0">
                <a:latin typeface="+mj-lt"/>
              </a:rPr>
              <a:t>efficiently</a:t>
            </a:r>
            <a:r>
              <a:rPr lang="en-US" sz="2400" b="1" dirty="0">
                <a:solidFill>
                  <a:schemeClr val="accent6"/>
                </a:solidFill>
                <a:latin typeface="+mj-lt"/>
              </a:rPr>
              <a:t> </a:t>
            </a:r>
            <a:r>
              <a:rPr lang="de-CH" sz="2400" b="1" dirty="0">
                <a:latin typeface="+mj-lt"/>
              </a:rPr>
              <a:t>»</a:t>
            </a:r>
            <a:endParaRPr lang="en-US" sz="2400" b="1" dirty="0">
              <a:latin typeface="+mj-lt"/>
            </a:endParaRPr>
          </a:p>
        </p:txBody>
      </p:sp>
    </p:spTree>
    <p:extLst>
      <p:ext uri="{BB962C8B-B14F-4D97-AF65-F5344CB8AC3E}">
        <p14:creationId xmlns:p14="http://schemas.microsoft.com/office/powerpoint/2010/main" val="850695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0</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Post Maintenance Window Analysis</a:t>
            </a:r>
            <a:endParaRPr lang="en-US" sz="2700" dirty="0">
              <a:solidFill>
                <a:schemeClr val="bg2">
                  <a:lumMod val="75000"/>
                </a:schemeClr>
              </a:solidFill>
            </a:endParaRPr>
          </a:p>
        </p:txBody>
      </p:sp>
      <p:pic>
        <p:nvPicPr>
          <p:cNvPr id="2" name="Picture 1">
            <a:extLst>
              <a:ext uri="{FF2B5EF4-FFF2-40B4-BE49-F238E27FC236}">
                <a16:creationId xmlns:a16="http://schemas.microsoft.com/office/drawing/2014/main" id="{A5C13DB2-576A-627A-2CF0-E34E57ACD645}"/>
              </a:ext>
            </a:extLst>
          </p:cNvPr>
          <p:cNvPicPr>
            <a:picLocks noChangeAspect="1"/>
          </p:cNvPicPr>
          <p:nvPr/>
        </p:nvPicPr>
        <p:blipFill>
          <a:blip r:embed="rId3"/>
          <a:stretch>
            <a:fillRect/>
          </a:stretch>
        </p:blipFill>
        <p:spPr>
          <a:xfrm>
            <a:off x="356131" y="1567351"/>
            <a:ext cx="7879449" cy="4331948"/>
          </a:xfrm>
          <a:prstGeom prst="rect">
            <a:avLst/>
          </a:prstGeom>
        </p:spPr>
      </p:pic>
      <p:sp>
        <p:nvSpPr>
          <p:cNvPr id="3" name="Inhaltsplatzhalter 2">
            <a:extLst>
              <a:ext uri="{FF2B5EF4-FFF2-40B4-BE49-F238E27FC236}">
                <a16:creationId xmlns:a16="http://schemas.microsoft.com/office/drawing/2014/main" id="{8958B48B-ADF9-4C08-071D-E75646D4DABC}"/>
              </a:ext>
            </a:extLst>
          </p:cNvPr>
          <p:cNvSpPr txBox="1">
            <a:spLocks/>
          </p:cNvSpPr>
          <p:nvPr/>
        </p:nvSpPr>
        <p:spPr bwMode="black">
          <a:xfrm>
            <a:off x="8979316" y="426933"/>
            <a:ext cx="2856553" cy="5051445"/>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Maintenance window </a:t>
            </a:r>
            <a:r>
              <a:rPr lang="en-US" sz="1200" dirty="0">
                <a:solidFill>
                  <a:srgbClr val="333333"/>
                </a:solidFill>
                <a:latin typeface="TheSans Swisscom Light"/>
              </a:rPr>
              <a:t>was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scheduled to start on April 9th 22:00 with a total of 4 migration steps.</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12:45 CE facing interfaces on first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phased out was dis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withdrawal of 138.187.57.240/28 from 138.187.57.6 Lo0 towards route-reflectors and then to Inter-AS Option B ASBR. BMP route-monitoring and CLI show commands verified successful route propagation.</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23:02 CE facing interfaces on first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migrated to was en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update of 138.187.57.240/28 from 138.190.129.180 Lo0 towards route-reflectors and then to Inter-AS option B ASBR. BMP route-monitoring and CLI show commands verified successful route propagation.</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23:34 CE facing interfaces on second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phased out was dis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withdrawal of 138.187.57.240/28 from 138.187.57.5 Lo0 towards route-reflectors and then to Inter-AS </a:t>
            </a:r>
            <a:r>
              <a:rPr lang="en-US" sz="1200" dirty="0">
                <a:solidFill>
                  <a:srgbClr val="333333"/>
                </a:solidFill>
                <a:latin typeface="TheSans Swisscom Light"/>
              </a:rPr>
              <a:t>o</a:t>
            </a:r>
            <a:r>
              <a:rPr kumimoji="0" lang="en-US" sz="1200" b="0" i="0" u="none" strike="noStrike" kern="1200" cap="none" spc="0" normalizeH="0" baseline="0" noProof="0" dirty="0" err="1">
                <a:ln>
                  <a:noFill/>
                </a:ln>
                <a:solidFill>
                  <a:srgbClr val="333333"/>
                </a:solidFill>
                <a:effectLst/>
                <a:uLnTx/>
                <a:uFillTx/>
                <a:latin typeface="TheSans Swisscom Light"/>
                <a:ea typeface="+mn-ea"/>
                <a:cs typeface="+mn-cs"/>
              </a:rPr>
              <a:t>ption</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 B ASBR. BMP route-monitoring and CLI show commands verified successful route propagation to route-reflector </a:t>
            </a: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and on two Option B ASBR, but on other six after 20 mins delay.</a:t>
            </a:r>
          </a:p>
        </p:txBody>
      </p:sp>
      <p:pic>
        <p:nvPicPr>
          <p:cNvPr id="4" name="Graphic 3">
            <a:extLst>
              <a:ext uri="{FF2B5EF4-FFF2-40B4-BE49-F238E27FC236}">
                <a16:creationId xmlns:a16="http://schemas.microsoft.com/office/drawing/2014/main" id="{5AF1EF20-85A6-C0BB-1636-29832B2C67B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14918" y="393700"/>
            <a:ext cx="410400" cy="410400"/>
          </a:xfrm>
          <a:prstGeom prst="rect">
            <a:avLst/>
          </a:prstGeom>
        </p:spPr>
      </p:pic>
      <p:cxnSp>
        <p:nvCxnSpPr>
          <p:cNvPr id="7" name="Straight Arrow Connector 6">
            <a:extLst>
              <a:ext uri="{FF2B5EF4-FFF2-40B4-BE49-F238E27FC236}">
                <a16:creationId xmlns:a16="http://schemas.microsoft.com/office/drawing/2014/main" id="{5B3D2B6C-895B-B128-3B64-BE465DF3780C}"/>
              </a:ext>
            </a:extLst>
          </p:cNvPr>
          <p:cNvCxnSpPr>
            <a:cxnSpLocks/>
          </p:cNvCxnSpPr>
          <p:nvPr/>
        </p:nvCxnSpPr>
        <p:spPr bwMode="gray">
          <a:xfrm>
            <a:off x="8641955" y="3205655"/>
            <a:ext cx="0" cy="1123863"/>
          </a:xfrm>
          <a:prstGeom prst="straightConnector1">
            <a:avLst/>
          </a:prstGeom>
          <a:ln w="25400">
            <a:solidFill>
              <a:srgbClr val="5944C6"/>
            </a:solidFill>
            <a:prstDash val="sysDash"/>
            <a:tailEnd type="stealth" w="lg" len="lg"/>
          </a:ln>
        </p:spPr>
        <p:style>
          <a:lnRef idx="1">
            <a:schemeClr val="accent1"/>
          </a:lnRef>
          <a:fillRef idx="0">
            <a:schemeClr val="accent1"/>
          </a:fillRef>
          <a:effectRef idx="0">
            <a:schemeClr val="accent1"/>
          </a:effectRef>
          <a:fontRef idx="minor">
            <a:schemeClr val="tx1"/>
          </a:fontRef>
        </p:style>
      </p:cxnSp>
      <p:pic>
        <p:nvPicPr>
          <p:cNvPr id="8" name="Grafik 8">
            <a:extLst>
              <a:ext uri="{FF2B5EF4-FFF2-40B4-BE49-F238E27FC236}">
                <a16:creationId xmlns:a16="http://schemas.microsoft.com/office/drawing/2014/main" id="{8D19947A-144F-1D80-B0F3-67F6872163F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37421" y="2796586"/>
            <a:ext cx="409069" cy="409069"/>
          </a:xfrm>
          <a:prstGeom prst="rect">
            <a:avLst/>
          </a:prstGeom>
        </p:spPr>
      </p:pic>
      <p:sp>
        <p:nvSpPr>
          <p:cNvPr id="9" name="Oval 8">
            <a:extLst>
              <a:ext uri="{FF2B5EF4-FFF2-40B4-BE49-F238E27FC236}">
                <a16:creationId xmlns:a16="http://schemas.microsoft.com/office/drawing/2014/main" id="{EB8EE06A-9C5A-1497-6091-14DF67137B7E}"/>
              </a:ext>
            </a:extLst>
          </p:cNvPr>
          <p:cNvSpPr/>
          <p:nvPr/>
        </p:nvSpPr>
        <p:spPr bwMode="gray">
          <a:xfrm>
            <a:off x="1331522" y="4550754"/>
            <a:ext cx="566024" cy="525183"/>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0" name="Oval 9">
            <a:extLst>
              <a:ext uri="{FF2B5EF4-FFF2-40B4-BE49-F238E27FC236}">
                <a16:creationId xmlns:a16="http://schemas.microsoft.com/office/drawing/2014/main" id="{71CF02A3-82A0-40D0-9B64-6B9FC20586A6}"/>
              </a:ext>
            </a:extLst>
          </p:cNvPr>
          <p:cNvSpPr/>
          <p:nvPr/>
        </p:nvSpPr>
        <p:spPr bwMode="gray">
          <a:xfrm>
            <a:off x="1329008" y="5437676"/>
            <a:ext cx="566024" cy="525183"/>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1" name="Oval 10">
            <a:extLst>
              <a:ext uri="{FF2B5EF4-FFF2-40B4-BE49-F238E27FC236}">
                <a16:creationId xmlns:a16="http://schemas.microsoft.com/office/drawing/2014/main" id="{0CFA25E0-D5B0-91D3-117C-26055F6E5CC6}"/>
              </a:ext>
            </a:extLst>
          </p:cNvPr>
          <p:cNvSpPr/>
          <p:nvPr/>
        </p:nvSpPr>
        <p:spPr bwMode="gray">
          <a:xfrm>
            <a:off x="1285096" y="2951507"/>
            <a:ext cx="566024" cy="1168260"/>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pic>
        <p:nvPicPr>
          <p:cNvPr id="12" name="Graphic 11">
            <a:extLst>
              <a:ext uri="{FF2B5EF4-FFF2-40B4-BE49-F238E27FC236}">
                <a16:creationId xmlns:a16="http://schemas.microsoft.com/office/drawing/2014/main" id="{6F2C0F71-B41B-ECC1-F60C-F8D3A587CFA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84161" y="4439642"/>
            <a:ext cx="525183" cy="525183"/>
          </a:xfrm>
          <a:prstGeom prst="rect">
            <a:avLst/>
          </a:prstGeom>
        </p:spPr>
      </p:pic>
      <p:cxnSp>
        <p:nvCxnSpPr>
          <p:cNvPr id="13" name="Straight Arrow Connector 12">
            <a:extLst>
              <a:ext uri="{FF2B5EF4-FFF2-40B4-BE49-F238E27FC236}">
                <a16:creationId xmlns:a16="http://schemas.microsoft.com/office/drawing/2014/main" id="{9454752F-262C-79E4-AA8B-1ED9C821AA0C}"/>
              </a:ext>
            </a:extLst>
          </p:cNvPr>
          <p:cNvCxnSpPr>
            <a:cxnSpLocks/>
          </p:cNvCxnSpPr>
          <p:nvPr/>
        </p:nvCxnSpPr>
        <p:spPr bwMode="gray">
          <a:xfrm>
            <a:off x="8619452" y="1589073"/>
            <a:ext cx="0" cy="1161062"/>
          </a:xfrm>
          <a:prstGeom prst="straightConnector1">
            <a:avLst/>
          </a:prstGeom>
          <a:ln w="25400">
            <a:solidFill>
              <a:srgbClr val="5944C6"/>
            </a:solidFill>
            <a:prstDash val="sysDash"/>
            <a:tailEnd type="stealth" w="lg" len="lg"/>
          </a:ln>
        </p:spPr>
        <p:style>
          <a:lnRef idx="1">
            <a:schemeClr val="accent1"/>
          </a:lnRef>
          <a:fillRef idx="0">
            <a:schemeClr val="accent1"/>
          </a:fillRef>
          <a:effectRef idx="0">
            <a:schemeClr val="accent1"/>
          </a:effectRef>
          <a:fontRef idx="minor">
            <a:schemeClr val="tx1"/>
          </a:fontRef>
        </p:style>
      </p:cxnSp>
      <p:pic>
        <p:nvPicPr>
          <p:cNvPr id="14" name="Grafik 8">
            <a:extLst>
              <a:ext uri="{FF2B5EF4-FFF2-40B4-BE49-F238E27FC236}">
                <a16:creationId xmlns:a16="http://schemas.microsoft.com/office/drawing/2014/main" id="{0CCB84FC-46E4-E41C-DF7F-CC97564CE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14918" y="1159792"/>
            <a:ext cx="409069" cy="409069"/>
          </a:xfrm>
          <a:prstGeom prst="rect">
            <a:avLst/>
          </a:prstGeom>
        </p:spPr>
      </p:pic>
      <p:sp>
        <p:nvSpPr>
          <p:cNvPr id="15" name="Rectangle 14">
            <a:extLst>
              <a:ext uri="{FF2B5EF4-FFF2-40B4-BE49-F238E27FC236}">
                <a16:creationId xmlns:a16="http://schemas.microsoft.com/office/drawing/2014/main" id="{987BEEEE-087C-C4CD-2079-D081718361C6}"/>
              </a:ext>
            </a:extLst>
          </p:cNvPr>
          <p:cNvSpPr/>
          <p:nvPr/>
        </p:nvSpPr>
        <p:spPr>
          <a:xfrm>
            <a:off x="364732" y="6016834"/>
            <a:ext cx="7870848"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Overall BGP Update/withdrawals Across Swisscom MPLS/SRv6 Cores</a:t>
            </a:r>
          </a:p>
        </p:txBody>
      </p:sp>
    </p:spTree>
    <p:extLst>
      <p:ext uri="{BB962C8B-B14F-4D97-AF65-F5344CB8AC3E}">
        <p14:creationId xmlns:p14="http://schemas.microsoft.com/office/powerpoint/2010/main" val="23304004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1</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Show command drove to wrong conclusion</a:t>
            </a:r>
            <a:endParaRPr lang="en-US" sz="2700" dirty="0">
              <a:solidFill>
                <a:schemeClr val="bg2">
                  <a:lumMod val="75000"/>
                </a:schemeClr>
              </a:solidFill>
            </a:endParaRPr>
          </a:p>
        </p:txBody>
      </p:sp>
      <p:sp>
        <p:nvSpPr>
          <p:cNvPr id="5" name="Inhaltsplatzhalter 2">
            <a:extLst>
              <a:ext uri="{FF2B5EF4-FFF2-40B4-BE49-F238E27FC236}">
                <a16:creationId xmlns:a16="http://schemas.microsoft.com/office/drawing/2014/main" id="{C6613F22-6DD1-56DE-935E-2C90E8C8CC57}"/>
              </a:ext>
            </a:extLst>
          </p:cNvPr>
          <p:cNvSpPr txBox="1">
            <a:spLocks/>
          </p:cNvSpPr>
          <p:nvPr/>
        </p:nvSpPr>
        <p:spPr bwMode="black">
          <a:xfrm>
            <a:off x="10743577" y="1726696"/>
            <a:ext cx="1221090" cy="272016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Juniper </a:t>
            </a:r>
            <a:r>
              <a:rPr kumimoji="0" lang="en-US" sz="1350" b="0" i="0" u="none" strike="noStrike" kern="1200" cap="none" spc="0" normalizeH="0" baseline="0" noProof="0" dirty="0" err="1">
                <a:ln>
                  <a:noFill/>
                </a:ln>
                <a:solidFill>
                  <a:srgbClr val="333333"/>
                </a:solidFill>
                <a:effectLst/>
                <a:uLnTx/>
                <a:uFillTx/>
                <a:latin typeface="TheSans Swisscom Light"/>
                <a:ea typeface="+mn-ea"/>
                <a:cs typeface="+mn-cs"/>
              </a:rPr>
              <a:t>JunOS</a:t>
            </a: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 CLI show command shows that path is for 20min no longer primary active but still as backup path inactive.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Output mislead network engineer to believe that path is still installed.</a:t>
            </a:r>
          </a:p>
        </p:txBody>
      </p:sp>
      <p:sp>
        <p:nvSpPr>
          <p:cNvPr id="16" name="Rectangle 15">
            <a:extLst>
              <a:ext uri="{FF2B5EF4-FFF2-40B4-BE49-F238E27FC236}">
                <a16:creationId xmlns:a16="http://schemas.microsoft.com/office/drawing/2014/main" id="{AB4CF674-59EF-DF02-1DAC-2E35F9D9BA83}"/>
              </a:ext>
            </a:extLst>
          </p:cNvPr>
          <p:cNvSpPr/>
          <p:nvPr/>
        </p:nvSpPr>
        <p:spPr>
          <a:xfrm>
            <a:off x="189857" y="1655573"/>
            <a:ext cx="5184094" cy="46628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show route table bgp.l3vpn.0 protocol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bgp</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240/28 deta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60633:4101214024:138.187.57.240/28 (1 entry, 1 annou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GP    Preference: 170/-1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 Distinguisher: 60633:4101214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 hop type: Indirect, Next hop index: 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ddress: 0x1a963a3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hop reference count: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Source: 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Protocol next hop: 138.187.57.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operation: Push 837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TTL action: prop-</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ttl</a:t>
            </a: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ad balance label: Label 83714: N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Indirect next hop: 0x2 no-forward INH Session ID: 0x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State: &lt;Delete Int Ex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Path</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Cand</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cal AS: 64088.1116 Peer AS: 64088.1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ge: 5:28       Metric: 805     Metric2: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Validation State: unverifi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esolving-AIGP: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Effective metric: 8 (IGP metric plus resolving AIG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ask: BGP_64088.1116.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nnouncement bits (1): 1-B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S path: 60633 64088.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mmunities: 60633:204 60633:208 60633:1002 64497:4965 64499:13338 target:60633:11000063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ccep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withdraw Station: DAISY_BMP_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withdraw Station: DAISY_BMP_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MP: Station: &lt;unassigned&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lor: VPN Label: 837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Localpref</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r ID: 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hread: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junos</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main</a:t>
            </a:r>
            <a:endParaRPr kumimoji="0" lang="de-CH"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p:txBody>
      </p:sp>
      <p:pic>
        <p:nvPicPr>
          <p:cNvPr id="17" name="Graphic 16">
            <a:extLst>
              <a:ext uri="{FF2B5EF4-FFF2-40B4-BE49-F238E27FC236}">
                <a16:creationId xmlns:a16="http://schemas.microsoft.com/office/drawing/2014/main" id="{2DFFE5F3-98A9-B901-A816-EFFEF14A5B7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27808" y="1748939"/>
            <a:ext cx="525183" cy="525183"/>
          </a:xfrm>
          <a:prstGeom prst="rect">
            <a:avLst/>
          </a:prstGeom>
        </p:spPr>
      </p:pic>
      <p:sp>
        <p:nvSpPr>
          <p:cNvPr id="18" name="Rectangle 17">
            <a:extLst>
              <a:ext uri="{FF2B5EF4-FFF2-40B4-BE49-F238E27FC236}">
                <a16:creationId xmlns:a16="http://schemas.microsoft.com/office/drawing/2014/main" id="{556EC099-FD21-AE64-3C6C-987C8F12E609}"/>
              </a:ext>
            </a:extLst>
          </p:cNvPr>
          <p:cNvSpPr/>
          <p:nvPr/>
        </p:nvSpPr>
        <p:spPr>
          <a:xfrm>
            <a:off x="5058497" y="1655573"/>
            <a:ext cx="5184094" cy="480131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show route table bgp.l3vpn.0 protocol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bgp</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240/28 deta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60633:4103214024:138.187.57.240/28 (3 entries, 1 annou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GP    Preference: 170/-1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 Distinguisher: 60633:4103214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 hop type: Indirect, Next hop index: 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ddress: 0x1526757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hop reference count: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Source: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Protocol next hop: 138.190.128.18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operation: Push 831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TTL action: prop-</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ttl</a:t>
            </a: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ad balance label: Label 83118: N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Indirect next hop: 0x2 no-forward INH Session ID: 0x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State: &lt;Active Ex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Path</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Cand</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cal AS: 64088.1116 Peer AS: 6063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ge: 14:29:45   Metric: 800     Metric2: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Validation State: unverifi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esolving-AIGP: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Effective metric: 8 (IGP metric plus resolving AIG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ask: BGP_60633.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nnouncement bits (2): 0-BGP_RT_Background 1-B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S path: 60633 64088.118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mmunities: 60633:204 60633:208 60633:1001 60633:1111 64497:4965 64499:13338 target:60633:11000063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ccep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advertise Station: DAISY_BMP_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advertise Station: DAISY_BMP_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lor: VPN Label: 831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Localpref</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r ID: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hread: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junos</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ma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p:txBody>
      </p:sp>
    </p:spTree>
    <p:extLst>
      <p:ext uri="{BB962C8B-B14F-4D97-AF65-F5344CB8AC3E}">
        <p14:creationId xmlns:p14="http://schemas.microsoft.com/office/powerpoint/2010/main" val="15875014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2</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GB" sz="2800" dirty="0">
                <a:solidFill>
                  <a:schemeClr val="bg1">
                    <a:lumMod val="65000"/>
                  </a:schemeClr>
                </a:solidFill>
              </a:rPr>
              <a:t>D</a:t>
            </a:r>
            <a:r>
              <a:rPr lang="en-US" sz="2800" dirty="0" err="1">
                <a:solidFill>
                  <a:schemeClr val="bg1">
                    <a:lumMod val="65000"/>
                  </a:schemeClr>
                </a:solidFill>
              </a:rPr>
              <a:t>ata</a:t>
            </a:r>
            <a:r>
              <a:rPr lang="en-US" sz="2800" dirty="0">
                <a:solidFill>
                  <a:schemeClr val="bg1">
                    <a:lumMod val="65000"/>
                  </a:schemeClr>
                </a:solidFill>
              </a:rPr>
              <a:t> collection timestamp drove to wrong conclusion</a:t>
            </a:r>
          </a:p>
        </p:txBody>
      </p:sp>
      <p:sp>
        <p:nvSpPr>
          <p:cNvPr id="2" name="Inhaltsplatzhalter 2">
            <a:extLst>
              <a:ext uri="{FF2B5EF4-FFF2-40B4-BE49-F238E27FC236}">
                <a16:creationId xmlns:a16="http://schemas.microsoft.com/office/drawing/2014/main" id="{9D61CFC8-455E-F3AD-F115-C08399D2FB3F}"/>
              </a:ext>
            </a:extLst>
          </p:cNvPr>
          <p:cNvSpPr txBox="1">
            <a:spLocks/>
          </p:cNvSpPr>
          <p:nvPr/>
        </p:nvSpPr>
        <p:spPr bwMode="black">
          <a:xfrm>
            <a:off x="9902952" y="1682496"/>
            <a:ext cx="1706865" cy="272016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ecause BMP per-peer timestamp is optional, in the time series database ingestion, the data collection augmentation timestamp is used instead.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Leading to false conclusions when the state change was observed.</a:t>
            </a:r>
          </a:p>
        </p:txBody>
      </p:sp>
      <p:sp>
        <p:nvSpPr>
          <p:cNvPr id="3" name="Rectangle 2">
            <a:extLst>
              <a:ext uri="{FF2B5EF4-FFF2-40B4-BE49-F238E27FC236}">
                <a16:creationId xmlns:a16="http://schemas.microsoft.com/office/drawing/2014/main" id="{5C6F98D3-4061-4B0E-40E9-0238CE8D501C}"/>
              </a:ext>
            </a:extLst>
          </p:cNvPr>
          <p:cNvSpPr/>
          <p:nvPr/>
        </p:nvSpPr>
        <p:spPr>
          <a:xfrm>
            <a:off x="838200" y="1690688"/>
            <a:ext cx="3881504" cy="489364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Wed Apr 10 2024 01:04: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0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Wed Apr 10 2024 00:54:51"</a:t>
            </a:r>
            <a:endParaRPr kumimoji="0" lang="de-CH"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endParaRPr>
          </a:p>
        </p:txBody>
      </p:sp>
      <p:sp>
        <p:nvSpPr>
          <p:cNvPr id="7" name="Rectangle 6">
            <a:extLst>
              <a:ext uri="{FF2B5EF4-FFF2-40B4-BE49-F238E27FC236}">
                <a16:creationId xmlns:a16="http://schemas.microsoft.com/office/drawing/2014/main" id="{DF19F707-B2A2-2A16-6A03-E73BE59795EE}"/>
              </a:ext>
            </a:extLst>
          </p:cNvPr>
          <p:cNvSpPr/>
          <p:nvPr/>
        </p:nvSpPr>
        <p:spPr>
          <a:xfrm>
            <a:off x="4809038" y="1695677"/>
            <a:ext cx="3881504"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333333"/>
                </a:solidFill>
                <a:effectLst/>
                <a:highlight>
                  <a:srgbClr val="FFFF00"/>
                </a:highlight>
                <a:uLnTx/>
                <a:uFillTx/>
                <a:latin typeface="TheSans Swisscom Light"/>
                <a:ea typeface="+mn-ea"/>
                <a:cs typeface="Courier New" panose="02070309020205020404" pitchFamily="49" charset="0"/>
              </a:rPr>
              <a:t>The yellow marked timestamp shows the optional BMP per-peer header observation timestam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33333"/>
              </a:solidFill>
              <a:effectLst/>
              <a:highlight>
                <a:srgbClr val="FFFF00"/>
              </a:highlight>
              <a:uLnTx/>
              <a:uFillTx/>
              <a:latin typeface="TheSans Swisscom Light"/>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333333"/>
                </a:solidFill>
                <a:effectLst/>
                <a:highlight>
                  <a:srgbClr val="00FFFF"/>
                </a:highlight>
                <a:uLnTx/>
                <a:uFillTx/>
                <a:latin typeface="TheSans Swisscom Light"/>
                <a:ea typeface="+mn-ea"/>
                <a:cs typeface="Courier New" panose="02070309020205020404" pitchFamily="49" charset="0"/>
              </a:rPr>
              <a:t>The blue marked timestamp shows the timestamp being augmented on the BMP data collection and </a:t>
            </a:r>
            <a:r>
              <a:rPr kumimoji="0" lang="en-US" sz="1350" b="1" i="0" u="none" strike="noStrike" kern="1200" cap="none" spc="0" normalizeH="0" baseline="0" noProof="0" dirty="0">
                <a:ln>
                  <a:noFill/>
                </a:ln>
                <a:solidFill>
                  <a:srgbClr val="FF0000"/>
                </a:solidFill>
                <a:effectLst/>
                <a:highlight>
                  <a:srgbClr val="00FFFF"/>
                </a:highlight>
                <a:uLnTx/>
                <a:uFillTx/>
                <a:latin typeface="TheSans Swisscom Light"/>
                <a:ea typeface="+mn-ea"/>
                <a:cs typeface="Courier New" panose="02070309020205020404" pitchFamily="49" charset="0"/>
              </a:rPr>
              <a:t>being used for the time series database. </a:t>
            </a:r>
            <a:endParaRPr kumimoji="0" lang="de-CH" sz="1350" b="1" i="0" u="none" strike="noStrike" kern="1200" cap="none" spc="0" normalizeH="0" baseline="0" noProof="0" dirty="0">
              <a:ln>
                <a:noFill/>
              </a:ln>
              <a:solidFill>
                <a:srgbClr val="FF0000"/>
              </a:solidFill>
              <a:effectLst/>
              <a:highlight>
                <a:srgbClr val="00FFFF"/>
              </a:highlight>
              <a:uLnTx/>
              <a:uFillTx/>
              <a:latin typeface="TheSans Swisscom Light"/>
              <a:ea typeface="+mn-ea"/>
              <a:cs typeface="Courier New" panose="02070309020205020404" pitchFamily="49" charset="0"/>
            </a:endParaRPr>
          </a:p>
        </p:txBody>
      </p:sp>
      <p:pic>
        <p:nvPicPr>
          <p:cNvPr id="8" name="Graphic 7">
            <a:extLst>
              <a:ext uri="{FF2B5EF4-FFF2-40B4-BE49-F238E27FC236}">
                <a16:creationId xmlns:a16="http://schemas.microsoft.com/office/drawing/2014/main" id="{8A7921E7-2525-34FB-6841-B5F01DECFE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92916" y="1714589"/>
            <a:ext cx="525183" cy="525183"/>
          </a:xfrm>
          <a:prstGeom prst="rect">
            <a:avLst/>
          </a:prstGeom>
        </p:spPr>
      </p:pic>
    </p:spTree>
    <p:extLst>
      <p:ext uri="{BB962C8B-B14F-4D97-AF65-F5344CB8AC3E}">
        <p14:creationId xmlns:p14="http://schemas.microsoft.com/office/powerpoint/2010/main" val="20060874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3</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Route-Reflector Peering and L3 VPN Traffic View</a:t>
            </a:r>
            <a:endParaRPr lang="en-US" sz="2700" dirty="0">
              <a:solidFill>
                <a:schemeClr val="bg2">
                  <a:lumMod val="75000"/>
                </a:schemeClr>
              </a:solidFill>
            </a:endParaRPr>
          </a:p>
        </p:txBody>
      </p:sp>
      <p:sp>
        <p:nvSpPr>
          <p:cNvPr id="5" name="Inhaltsplatzhalter 2">
            <a:extLst>
              <a:ext uri="{FF2B5EF4-FFF2-40B4-BE49-F238E27FC236}">
                <a16:creationId xmlns:a16="http://schemas.microsoft.com/office/drawing/2014/main" id="{477E3269-AE0B-75EF-0438-609ED261D5F5}"/>
              </a:ext>
            </a:extLst>
          </p:cNvPr>
          <p:cNvSpPr txBox="1">
            <a:spLocks/>
          </p:cNvSpPr>
          <p:nvPr/>
        </p:nvSpPr>
        <p:spPr bwMode="black">
          <a:xfrm>
            <a:off x="9900281" y="1681163"/>
            <a:ext cx="1824993" cy="3153997"/>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IPFIX configured on PE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but not on involved MPLS Inter-AS option B ASBRs </a:t>
            </a:r>
            <a:r>
              <a:rPr kumimoji="0" lang="en-US" sz="1400" b="1" i="0" u="none" strike="noStrike" kern="1200" cap="none" spc="0" normalizeH="0" baseline="0" noProof="0" dirty="0">
                <a:ln>
                  <a:noFill/>
                </a:ln>
                <a:solidFill>
                  <a:srgbClr val="FF0000"/>
                </a:solidFill>
                <a:effectLst/>
                <a:uLnTx/>
                <a:uFillTx/>
                <a:latin typeface="TheSans Swisscom Light"/>
                <a:ea typeface="+mn-ea"/>
                <a:cs typeface="+mn-cs"/>
              </a:rPr>
              <a:t>due to PR1567039</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MP ADJ-RIB In pre-policy on BGP VPNv4 /6 on MPLS PE's. BMP ADJ-RIB In pre-policy on BGP VPNv4 /6 on Route Reflectors and BMP ADJ-RIB In pre-policy and ADJ-RIB Out post-policy on Inter-AS Option B ASBR.</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YANG Push on most nodes but not relevant for this use case.</a:t>
            </a:r>
          </a:p>
        </p:txBody>
      </p:sp>
      <p:pic>
        <p:nvPicPr>
          <p:cNvPr id="8" name="Grafik 8">
            <a:extLst>
              <a:ext uri="{FF2B5EF4-FFF2-40B4-BE49-F238E27FC236}">
                <a16:creationId xmlns:a16="http://schemas.microsoft.com/office/drawing/2014/main" id="{54154485-B928-B492-B0BF-0F2B48285B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79124" y="3058389"/>
            <a:ext cx="409069" cy="409069"/>
          </a:xfrm>
          <a:prstGeom prst="rect">
            <a:avLst/>
          </a:prstGeom>
        </p:spPr>
      </p:pic>
      <p:pic>
        <p:nvPicPr>
          <p:cNvPr id="9" name="Graphic 8">
            <a:extLst>
              <a:ext uri="{FF2B5EF4-FFF2-40B4-BE49-F238E27FC236}">
                <a16:creationId xmlns:a16="http://schemas.microsoft.com/office/drawing/2014/main" id="{2B0ED05A-090F-1833-44DF-BB03C2D9803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79124" y="5580908"/>
            <a:ext cx="410400" cy="410400"/>
          </a:xfrm>
          <a:prstGeom prst="rect">
            <a:avLst/>
          </a:prstGeom>
        </p:spPr>
      </p:pic>
      <p:sp>
        <p:nvSpPr>
          <p:cNvPr id="10" name="Rectangle 9">
            <a:extLst>
              <a:ext uri="{FF2B5EF4-FFF2-40B4-BE49-F238E27FC236}">
                <a16:creationId xmlns:a16="http://schemas.microsoft.com/office/drawing/2014/main" id="{D5BF30A0-2EDE-D753-5071-EAC623851B2A}"/>
              </a:ext>
            </a:extLst>
          </p:cNvPr>
          <p:cNvSpPr/>
          <p:nvPr/>
        </p:nvSpPr>
        <p:spPr>
          <a:xfrm>
            <a:off x="2562225" y="3837023"/>
            <a:ext cx="3659921"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BMP Peering Statistics on Route Reflectors</a:t>
            </a:r>
          </a:p>
        </p:txBody>
      </p:sp>
      <p:pic>
        <p:nvPicPr>
          <p:cNvPr id="11" name="Graphic 10">
            <a:extLst>
              <a:ext uri="{FF2B5EF4-FFF2-40B4-BE49-F238E27FC236}">
                <a16:creationId xmlns:a16="http://schemas.microsoft.com/office/drawing/2014/main" id="{A016D5FB-2A70-8FB0-B62D-016BEC79DF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92916" y="1714589"/>
            <a:ext cx="525183" cy="525183"/>
          </a:xfrm>
          <a:prstGeom prst="rect">
            <a:avLst/>
          </a:prstGeom>
        </p:spPr>
      </p:pic>
      <p:pic>
        <p:nvPicPr>
          <p:cNvPr id="12" name="Picture 11">
            <a:extLst>
              <a:ext uri="{FF2B5EF4-FFF2-40B4-BE49-F238E27FC236}">
                <a16:creationId xmlns:a16="http://schemas.microsoft.com/office/drawing/2014/main" id="{53FBDF35-349F-4A69-857C-9D3F5A1A82DE}"/>
              </a:ext>
            </a:extLst>
          </p:cNvPr>
          <p:cNvPicPr>
            <a:picLocks noChangeAspect="1"/>
          </p:cNvPicPr>
          <p:nvPr/>
        </p:nvPicPr>
        <p:blipFill>
          <a:blip r:embed="rId9"/>
          <a:stretch>
            <a:fillRect/>
          </a:stretch>
        </p:blipFill>
        <p:spPr>
          <a:xfrm>
            <a:off x="2666304" y="1714589"/>
            <a:ext cx="3555842" cy="2000161"/>
          </a:xfrm>
          <a:prstGeom prst="rect">
            <a:avLst/>
          </a:prstGeom>
        </p:spPr>
      </p:pic>
      <p:sp>
        <p:nvSpPr>
          <p:cNvPr id="13" name="Rectangle 12">
            <a:extLst>
              <a:ext uri="{FF2B5EF4-FFF2-40B4-BE49-F238E27FC236}">
                <a16:creationId xmlns:a16="http://schemas.microsoft.com/office/drawing/2014/main" id="{BB63D1CC-F8AF-E563-C0E8-E96F4B90A8F1}"/>
              </a:ext>
            </a:extLst>
          </p:cNvPr>
          <p:cNvSpPr/>
          <p:nvPr/>
        </p:nvSpPr>
        <p:spPr>
          <a:xfrm>
            <a:off x="942278" y="6260357"/>
            <a:ext cx="741114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Traffic to Voice over IP Service on affected L3 VPN</a:t>
            </a:r>
          </a:p>
        </p:txBody>
      </p:sp>
      <p:pic>
        <p:nvPicPr>
          <p:cNvPr id="14" name="Picture 13">
            <a:extLst>
              <a:ext uri="{FF2B5EF4-FFF2-40B4-BE49-F238E27FC236}">
                <a16:creationId xmlns:a16="http://schemas.microsoft.com/office/drawing/2014/main" id="{BD2E6EE8-E200-90CF-5E2F-040788DDDF24}"/>
              </a:ext>
            </a:extLst>
          </p:cNvPr>
          <p:cNvPicPr>
            <a:picLocks noChangeAspect="1"/>
          </p:cNvPicPr>
          <p:nvPr/>
        </p:nvPicPr>
        <p:blipFill>
          <a:blip r:embed="rId10"/>
          <a:stretch>
            <a:fillRect/>
          </a:stretch>
        </p:blipFill>
        <p:spPr>
          <a:xfrm>
            <a:off x="942279" y="4337683"/>
            <a:ext cx="7411146" cy="1830782"/>
          </a:xfrm>
          <a:prstGeom prst="rect">
            <a:avLst/>
          </a:prstGeom>
        </p:spPr>
      </p:pic>
    </p:spTree>
    <p:extLst>
      <p:ext uri="{BB962C8B-B14F-4D97-AF65-F5344CB8AC3E}">
        <p14:creationId xmlns:p14="http://schemas.microsoft.com/office/powerpoint/2010/main" val="12653676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4</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64497:4965 - Anomaly Detection - </a:t>
            </a:r>
            <a:r>
              <a:rPr lang="en-US" sz="2800" dirty="0">
                <a:solidFill>
                  <a:srgbClr val="FF0000"/>
                </a:solidFill>
              </a:rPr>
              <a:t>Live</a:t>
            </a:r>
            <a:endParaRPr lang="en-US" sz="2700" dirty="0">
              <a:solidFill>
                <a:srgbClr val="FF0000"/>
              </a:solidFill>
            </a:endParaRPr>
          </a:p>
        </p:txBody>
      </p:sp>
      <p:sp>
        <p:nvSpPr>
          <p:cNvPr id="8" name="Rectangle 7">
            <a:extLst>
              <a:ext uri="{FF2B5EF4-FFF2-40B4-BE49-F238E27FC236}">
                <a16:creationId xmlns:a16="http://schemas.microsoft.com/office/drawing/2014/main" id="{B33E2DBB-1A1B-01BA-4800-C20DF81677B7}"/>
              </a:ext>
            </a:extLst>
          </p:cNvPr>
          <p:cNvSpPr/>
          <p:nvPr/>
        </p:nvSpPr>
        <p:spPr>
          <a:xfrm>
            <a:off x="431214" y="6403597"/>
            <a:ext cx="7015028" cy="338554"/>
          </a:xfrm>
          <a:prstGeom prst="rect">
            <a:avLst/>
          </a:prstGeom>
        </p:spPr>
        <p:txBody>
          <a:bodyPr wrap="square">
            <a:spAutoFit/>
          </a:bodyPr>
          <a:lstStyle/>
          <a:p>
            <a:pPr algn="ctr"/>
            <a:r>
              <a:rPr kumimoji="0" lang="en-US" sz="1600" b="1" i="0" u="none" strike="noStrike" kern="1200" cap="none" spc="0" normalizeH="0" baseline="0" noProof="0" dirty="0">
                <a:ln>
                  <a:noFill/>
                </a:ln>
                <a:solidFill>
                  <a:srgbClr val="333333"/>
                </a:solidFill>
                <a:effectLst/>
                <a:uLnTx/>
                <a:uFillTx/>
                <a:latin typeface="TheSans Swisscom Light"/>
                <a:ea typeface="+mn-ea"/>
                <a:cs typeface="+mn-cs"/>
              </a:rPr>
              <a:t>Cosmos Bright Lights Anomaly Detection –  64497:4965</a:t>
            </a:r>
            <a:endParaRPr lang="de-CH" sz="1500" b="1" dirty="0"/>
          </a:p>
        </p:txBody>
      </p:sp>
      <p:pic>
        <p:nvPicPr>
          <p:cNvPr id="5" name="Picture 4">
            <a:extLst>
              <a:ext uri="{FF2B5EF4-FFF2-40B4-BE49-F238E27FC236}">
                <a16:creationId xmlns:a16="http://schemas.microsoft.com/office/drawing/2014/main" id="{CE037323-F485-1F7D-6F0A-B55000018911}"/>
              </a:ext>
            </a:extLst>
          </p:cNvPr>
          <p:cNvPicPr>
            <a:picLocks noChangeAspect="1"/>
          </p:cNvPicPr>
          <p:nvPr/>
        </p:nvPicPr>
        <p:blipFill>
          <a:blip r:embed="rId3"/>
          <a:stretch>
            <a:fillRect/>
          </a:stretch>
        </p:blipFill>
        <p:spPr>
          <a:xfrm>
            <a:off x="916428" y="1511331"/>
            <a:ext cx="6529814" cy="4815530"/>
          </a:xfrm>
          <a:prstGeom prst="rect">
            <a:avLst/>
          </a:prstGeom>
        </p:spPr>
      </p:pic>
      <p:cxnSp>
        <p:nvCxnSpPr>
          <p:cNvPr id="17" name="Straight Connector 16">
            <a:extLst>
              <a:ext uri="{FF2B5EF4-FFF2-40B4-BE49-F238E27FC236}">
                <a16:creationId xmlns:a16="http://schemas.microsoft.com/office/drawing/2014/main" id="{2E8596CB-E477-3593-DC09-8C18E2574B2C}"/>
              </a:ext>
            </a:extLst>
          </p:cNvPr>
          <p:cNvCxnSpPr>
            <a:cxnSpLocks/>
          </p:cNvCxnSpPr>
          <p:nvPr/>
        </p:nvCxnSpPr>
        <p:spPr bwMode="gray">
          <a:xfrm>
            <a:off x="1607722" y="1939448"/>
            <a:ext cx="0" cy="4117987"/>
          </a:xfrm>
          <a:prstGeom prst="line">
            <a:avLst/>
          </a:prstGeom>
          <a:ln w="25400">
            <a:solidFill>
              <a:srgbClr val="FF0000">
                <a:alpha val="5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B1A7D75-0453-EA57-77A7-8B93DC299BFC}"/>
              </a:ext>
            </a:extLst>
          </p:cNvPr>
          <p:cNvCxnSpPr>
            <a:cxnSpLocks/>
          </p:cNvCxnSpPr>
          <p:nvPr/>
        </p:nvCxnSpPr>
        <p:spPr bwMode="gray">
          <a:xfrm>
            <a:off x="5495360" y="1939448"/>
            <a:ext cx="0" cy="4117987"/>
          </a:xfrm>
          <a:prstGeom prst="line">
            <a:avLst/>
          </a:prstGeom>
          <a:ln w="25400">
            <a:solidFill>
              <a:srgbClr val="FF0000">
                <a:alpha val="50000"/>
              </a:srgbClr>
            </a:solidFill>
            <a:prstDash val="sysDot"/>
          </a:ln>
        </p:spPr>
        <p:style>
          <a:lnRef idx="1">
            <a:schemeClr val="accent1"/>
          </a:lnRef>
          <a:fillRef idx="0">
            <a:schemeClr val="accent1"/>
          </a:fillRef>
          <a:effectRef idx="0">
            <a:schemeClr val="accent1"/>
          </a:effectRef>
          <a:fontRef idx="minor">
            <a:schemeClr val="tx1"/>
          </a:fontRef>
        </p:style>
      </p:cxnSp>
      <p:sp>
        <p:nvSpPr>
          <p:cNvPr id="19" name="Inhaltsplatzhalter 2">
            <a:extLst>
              <a:ext uri="{FF2B5EF4-FFF2-40B4-BE49-F238E27FC236}">
                <a16:creationId xmlns:a16="http://schemas.microsoft.com/office/drawing/2014/main" id="{C0B0B358-F380-1685-54B2-28156DD8C58B}"/>
              </a:ext>
            </a:extLst>
          </p:cNvPr>
          <p:cNvSpPr txBox="1">
            <a:spLocks/>
          </p:cNvSpPr>
          <p:nvPr/>
        </p:nvSpPr>
        <p:spPr bwMode="black">
          <a:xfrm>
            <a:off x="9222114" y="1565140"/>
            <a:ext cx="2802335" cy="5120799"/>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BMP route-monitoring Update/Withdraw check recognize withdrawal.</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MP peer Down/Up check did not apply.</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Interface Down/Up check did not recognize. </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Traffic Drop spike did not apply</a:t>
            </a: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Missing Traffic check did not apply. (not fully implemented yet). </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Increased or decreased Flow Count did not apply.</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Overall: 1 out of 6 checks have detected the BGP topology change. Real-time streaming implementation work in progress as expected.</a:t>
            </a:r>
          </a:p>
        </p:txBody>
      </p:sp>
      <p:pic>
        <p:nvPicPr>
          <p:cNvPr id="20" name="Grafik 8">
            <a:extLst>
              <a:ext uri="{FF2B5EF4-FFF2-40B4-BE49-F238E27FC236}">
                <a16:creationId xmlns:a16="http://schemas.microsoft.com/office/drawing/2014/main" id="{B1BD11C8-18BC-7037-EDE7-760FAF3ED11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72467" y="5659357"/>
            <a:ext cx="409069" cy="409069"/>
          </a:xfrm>
          <a:prstGeom prst="rect">
            <a:avLst/>
          </a:prstGeom>
        </p:spPr>
      </p:pic>
      <p:pic>
        <p:nvPicPr>
          <p:cNvPr id="21" name="Grafik 8">
            <a:extLst>
              <a:ext uri="{FF2B5EF4-FFF2-40B4-BE49-F238E27FC236}">
                <a16:creationId xmlns:a16="http://schemas.microsoft.com/office/drawing/2014/main" id="{8FADD8A6-5EA5-F80B-B38C-6AD008F1D62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63508" y="1532414"/>
            <a:ext cx="409069" cy="409069"/>
          </a:xfrm>
          <a:prstGeom prst="rect">
            <a:avLst/>
          </a:prstGeom>
        </p:spPr>
      </p:pic>
      <p:pic>
        <p:nvPicPr>
          <p:cNvPr id="22" name="Graphic 21">
            <a:extLst>
              <a:ext uri="{FF2B5EF4-FFF2-40B4-BE49-F238E27FC236}">
                <a16:creationId xmlns:a16="http://schemas.microsoft.com/office/drawing/2014/main" id="{8CF6195A-5D87-095E-6F02-784D55BE78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62177" y="2354392"/>
            <a:ext cx="410400" cy="410400"/>
          </a:xfrm>
          <a:prstGeom prst="rect">
            <a:avLst/>
          </a:prstGeom>
        </p:spPr>
      </p:pic>
      <p:sp>
        <p:nvSpPr>
          <p:cNvPr id="23" name="TextBox 22">
            <a:extLst>
              <a:ext uri="{FF2B5EF4-FFF2-40B4-BE49-F238E27FC236}">
                <a16:creationId xmlns:a16="http://schemas.microsoft.com/office/drawing/2014/main" id="{6275C51E-5B93-B582-DF30-56138CC1BF00}"/>
              </a:ext>
            </a:extLst>
          </p:cNvPr>
          <p:cNvSpPr txBox="1"/>
          <p:nvPr/>
        </p:nvSpPr>
        <p:spPr bwMode="gray">
          <a:xfrm>
            <a:off x="8637495" y="700818"/>
            <a:ext cx="303783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33333"/>
                </a:solidFill>
                <a:effectLst/>
                <a:uLnTx/>
                <a:uFillTx/>
                <a:latin typeface="TheSans Swisscom Light"/>
                <a:ea typeface="+mn-ea"/>
                <a:cs typeface="+mn-cs"/>
              </a:rPr>
              <a:t>Max Concern Score: </a:t>
            </a:r>
            <a:r>
              <a:rPr kumimoji="0" lang="en-US" sz="1800" b="1" i="0" u="none" strike="noStrike" kern="1200" cap="none" spc="0" normalizeH="0" baseline="0" noProof="0" dirty="0">
                <a:ln>
                  <a:noFill/>
                </a:ln>
                <a:solidFill>
                  <a:srgbClr val="FF0000"/>
                </a:solidFill>
                <a:effectLst/>
                <a:uLnTx/>
                <a:uFillTx/>
                <a:latin typeface="TheSans Swisscom Light"/>
                <a:ea typeface="+mn-ea"/>
                <a:cs typeface="+mn-cs"/>
              </a:rPr>
              <a:t>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33333"/>
                </a:solidFill>
                <a:effectLst/>
                <a:uLnTx/>
                <a:uFillTx/>
                <a:latin typeface="TheSans Swisscom Light"/>
                <a:ea typeface="+mn-ea"/>
                <a:cs typeface="+mn-cs"/>
              </a:rPr>
              <a:t>BMP Withdrawal Score: </a:t>
            </a:r>
            <a:r>
              <a:rPr kumimoji="0" lang="en-US" sz="1800" b="1" i="0" u="none" strike="noStrike" kern="1200" cap="none" spc="0" normalizeH="0" baseline="0" noProof="0" dirty="0">
                <a:ln>
                  <a:noFill/>
                </a:ln>
                <a:solidFill>
                  <a:srgbClr val="FF0000"/>
                </a:solidFill>
                <a:effectLst/>
                <a:uLnTx/>
                <a:uFillTx/>
                <a:latin typeface="TheSans Swisscom Light"/>
                <a:ea typeface="+mn-ea"/>
                <a:cs typeface="+mn-cs"/>
              </a:rPr>
              <a:t>0.19</a:t>
            </a:r>
            <a:endParaRPr kumimoji="0" lang="de-CH" sz="1800" b="1" i="0" u="none" strike="noStrike" kern="1200" cap="none" spc="0" normalizeH="0" baseline="0" noProof="0" dirty="0">
              <a:ln>
                <a:noFill/>
              </a:ln>
              <a:solidFill>
                <a:srgbClr val="333333"/>
              </a:solidFill>
              <a:effectLst/>
              <a:uLnTx/>
              <a:uFillTx/>
              <a:latin typeface="TheSans Swisscom Light"/>
              <a:ea typeface="+mn-ea"/>
              <a:cs typeface="+mn-cs"/>
            </a:endParaRPr>
          </a:p>
        </p:txBody>
      </p:sp>
      <p:pic>
        <p:nvPicPr>
          <p:cNvPr id="24" name="Graphic 23">
            <a:extLst>
              <a:ext uri="{FF2B5EF4-FFF2-40B4-BE49-F238E27FC236}">
                <a16:creationId xmlns:a16="http://schemas.microsoft.com/office/drawing/2014/main" id="{1CB21777-465A-0359-082D-EF78EF350F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58007" y="4881243"/>
            <a:ext cx="410400" cy="410400"/>
          </a:xfrm>
          <a:prstGeom prst="rect">
            <a:avLst/>
          </a:prstGeom>
        </p:spPr>
      </p:pic>
      <p:pic>
        <p:nvPicPr>
          <p:cNvPr id="25" name="Graphic 24">
            <a:extLst>
              <a:ext uri="{FF2B5EF4-FFF2-40B4-BE49-F238E27FC236}">
                <a16:creationId xmlns:a16="http://schemas.microsoft.com/office/drawing/2014/main" id="{76541C7C-3EAC-E11D-1BFA-AB24210F9D1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19959" y="3078758"/>
            <a:ext cx="525183" cy="525183"/>
          </a:xfrm>
          <a:prstGeom prst="rect">
            <a:avLst/>
          </a:prstGeom>
        </p:spPr>
      </p:pic>
      <p:pic>
        <p:nvPicPr>
          <p:cNvPr id="26" name="Graphic 25">
            <a:extLst>
              <a:ext uri="{FF2B5EF4-FFF2-40B4-BE49-F238E27FC236}">
                <a16:creationId xmlns:a16="http://schemas.microsoft.com/office/drawing/2014/main" id="{BE70FAB3-BF1B-C1CC-E32D-98A2BAABC77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68168" y="4262863"/>
            <a:ext cx="410400" cy="410400"/>
          </a:xfrm>
          <a:prstGeom prst="rect">
            <a:avLst/>
          </a:prstGeom>
        </p:spPr>
      </p:pic>
      <p:pic>
        <p:nvPicPr>
          <p:cNvPr id="27" name="Graphic 26">
            <a:extLst>
              <a:ext uri="{FF2B5EF4-FFF2-40B4-BE49-F238E27FC236}">
                <a16:creationId xmlns:a16="http://schemas.microsoft.com/office/drawing/2014/main" id="{2EE4C1FC-0867-2EDD-728E-DAB916AA600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57587" y="3728202"/>
            <a:ext cx="410400" cy="410400"/>
          </a:xfrm>
          <a:prstGeom prst="rect">
            <a:avLst/>
          </a:prstGeom>
        </p:spPr>
      </p:pic>
      <p:sp>
        <p:nvSpPr>
          <p:cNvPr id="28" name="Rectangle 27">
            <a:extLst>
              <a:ext uri="{FF2B5EF4-FFF2-40B4-BE49-F238E27FC236}">
                <a16:creationId xmlns:a16="http://schemas.microsoft.com/office/drawing/2014/main" id="{10C3CDCC-83DF-7277-DB1E-1B0F522EFD5C}"/>
              </a:ext>
            </a:extLst>
          </p:cNvPr>
          <p:cNvSpPr/>
          <p:nvPr/>
        </p:nvSpPr>
        <p:spPr>
          <a:xfrm rot="527780">
            <a:off x="10180573" y="251995"/>
            <a:ext cx="1819275"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Real-Time Streaming</a:t>
            </a:r>
            <a:b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b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under Development</a:t>
            </a:r>
            <a:endParaRPr kumimoji="0" lang="en-US" sz="1200" b="0" i="0" u="none" strike="noStrike" kern="1200" cap="none" spc="0" normalizeH="0" baseline="0" noProof="0" dirty="0">
              <a:ln>
                <a:noFill/>
              </a:ln>
              <a:solidFill>
                <a:srgbClr val="FF0000"/>
              </a:solidFill>
              <a:effectLst/>
              <a:uLnTx/>
              <a:uFillTx/>
              <a:latin typeface="TheSans Swisscom Light"/>
              <a:ea typeface="+mn-ea"/>
              <a:cs typeface="+mn-cs"/>
            </a:endParaRPr>
          </a:p>
        </p:txBody>
      </p:sp>
    </p:spTree>
    <p:extLst>
      <p:ext uri="{BB962C8B-B14F-4D97-AF65-F5344CB8AC3E}">
        <p14:creationId xmlns:p14="http://schemas.microsoft.com/office/powerpoint/2010/main" val="7106222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56383" y="5985911"/>
            <a:ext cx="414251" cy="365125"/>
          </a:xfrm>
        </p:spPr>
        <p:txBody>
          <a:bodyPr/>
          <a:lstStyle/>
          <a:p>
            <a:fld id="{FC4AC485-25DE-431E-B345-9C0A15BB7F8A}" type="slidenum">
              <a:rPr lang="de-CH" sz="1400" smtClean="0"/>
              <a:t>35</a:t>
            </a:fld>
            <a:endParaRPr lang="de-CH" sz="1400" dirty="0"/>
          </a:p>
        </p:txBody>
      </p:sp>
      <p:sp>
        <p:nvSpPr>
          <p:cNvPr id="20" name="Text Placeholder 10">
            <a:extLst>
              <a:ext uri="{FF2B5EF4-FFF2-40B4-BE49-F238E27FC236}">
                <a16:creationId xmlns:a16="http://schemas.microsoft.com/office/drawing/2014/main" id="{ACB4FD1B-0BFE-ADCC-3401-28B9A3660A18}"/>
              </a:ext>
            </a:extLst>
          </p:cNvPr>
          <p:cNvSpPr txBox="1">
            <a:spLocks/>
          </p:cNvSpPr>
          <p:nvPr/>
        </p:nvSpPr>
        <p:spPr bwMode="black">
          <a:xfrm>
            <a:off x="984250" y="1197204"/>
            <a:ext cx="5111750" cy="755615"/>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Postmortem</a:t>
            </a:r>
          </a:p>
          <a:p>
            <a:r>
              <a:rPr lang="en-US" spc="-50" dirty="0"/>
              <a:t>What to do next?</a:t>
            </a:r>
          </a:p>
        </p:txBody>
      </p:sp>
      <p:sp>
        <p:nvSpPr>
          <p:cNvPr id="21" name="Inhaltsplatzhalter 2">
            <a:extLst>
              <a:ext uri="{FF2B5EF4-FFF2-40B4-BE49-F238E27FC236}">
                <a16:creationId xmlns:a16="http://schemas.microsoft.com/office/drawing/2014/main" id="{45E3698B-AA42-27BC-B206-D124A1AE89DE}"/>
              </a:ext>
            </a:extLst>
          </p:cNvPr>
          <p:cNvSpPr txBox="1">
            <a:spLocks/>
          </p:cNvSpPr>
          <p:nvPr/>
        </p:nvSpPr>
        <p:spPr bwMode="black">
          <a:xfrm>
            <a:off x="984249" y="2096430"/>
            <a:ext cx="4060692" cy="266514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10000"/>
              </a:lnSpc>
              <a:spcBef>
                <a:spcPts val="600"/>
              </a:spcBef>
              <a:spcAft>
                <a:spcPts val="600"/>
              </a:spcAft>
              <a:buSzTx/>
              <a:buFont typeface="Wingdings" panose="05000000000000000000" pitchFamily="2" charset="2"/>
              <a:buChar char="Ø"/>
              <a:tabLst/>
              <a:defRPr/>
            </a:pPr>
            <a: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t>Support on upcoming maintenance window with verification dashboard and active monitoring.</a:t>
            </a:r>
            <a:b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br>
            <a: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t>-&gt; Done</a:t>
            </a:r>
          </a:p>
        </p:txBody>
      </p:sp>
      <p:sp>
        <p:nvSpPr>
          <p:cNvPr id="2" name="Inhaltsplatzhalter 1">
            <a:extLst>
              <a:ext uri="{FF2B5EF4-FFF2-40B4-BE49-F238E27FC236}">
                <a16:creationId xmlns:a16="http://schemas.microsoft.com/office/drawing/2014/main" id="{D20827C3-9ACB-5BD9-AF5E-5FD0BA6DAA61}"/>
              </a:ext>
            </a:extLst>
          </p:cNvPr>
          <p:cNvSpPr txBox="1">
            <a:spLocks/>
          </p:cNvSpPr>
          <p:nvPr/>
        </p:nvSpPr>
        <p:spPr bwMode="black">
          <a:xfrm>
            <a:off x="6096001" y="388988"/>
            <a:ext cx="5553074" cy="138967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1155"/>
                </a:solidFill>
                <a:effectLst/>
                <a:uLnTx/>
                <a:uFillTx/>
                <a:latin typeface="TheSans Swisscom Light"/>
                <a:ea typeface="+mn-ea"/>
                <a:cs typeface="+mn-cs"/>
              </a:rPr>
              <a:t>What went well?</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001155"/>
                </a:solidFill>
                <a:effectLst/>
                <a:uLnTx/>
                <a:uFillTx/>
                <a:latin typeface="TheSans Swisscom Light"/>
                <a:ea typeface="+mn-ea"/>
                <a:cs typeface="+mn-cs"/>
              </a:rPr>
              <a:t>Work in progress Cosmos Bright Lights real-time streaming Anomaly Detection BMP route-monitoring withdrawal rule detected topology change.</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001155"/>
                </a:solidFill>
                <a:effectLst/>
                <a:uLnTx/>
                <a:uFillTx/>
                <a:latin typeface="TheSans Swisscom Light"/>
                <a:ea typeface="+mn-ea"/>
                <a:cs typeface="+mn-cs"/>
              </a:rPr>
              <a:t>BMP collected metrics are consistent across multiple vendors vs. CLI show output is vendor dependent.</a:t>
            </a:r>
            <a:endParaRPr kumimoji="0" lang="en-US" sz="1300" b="0" i="0" u="none" strike="noStrike" kern="1200" cap="none" spc="0" normalizeH="0" baseline="0" noProof="0" dirty="0">
              <a:ln>
                <a:noFill/>
              </a:ln>
              <a:solidFill>
                <a:srgbClr val="001155"/>
              </a:solidFill>
              <a:effectLst/>
              <a:uLnTx/>
              <a:uFillTx/>
              <a:latin typeface="TheSans Swisscom Light"/>
              <a:ea typeface="+mn-ea"/>
              <a:cs typeface="+mn-cs"/>
            </a:endParaRPr>
          </a:p>
        </p:txBody>
      </p:sp>
      <p:sp>
        <p:nvSpPr>
          <p:cNvPr id="3" name="Inhaltsplatzhalter 1">
            <a:extLst>
              <a:ext uri="{FF2B5EF4-FFF2-40B4-BE49-F238E27FC236}">
                <a16:creationId xmlns:a16="http://schemas.microsoft.com/office/drawing/2014/main" id="{7AFFAB9B-D3A4-9F0D-7DDA-44173D37771D}"/>
              </a:ext>
            </a:extLst>
          </p:cNvPr>
          <p:cNvSpPr txBox="1">
            <a:spLocks/>
          </p:cNvSpPr>
          <p:nvPr/>
        </p:nvSpPr>
        <p:spPr bwMode="black">
          <a:xfrm>
            <a:off x="6096000" y="2113831"/>
            <a:ext cx="5553075" cy="2181881"/>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1155"/>
                </a:solidFill>
                <a:effectLst/>
                <a:uLnTx/>
                <a:uFillTx/>
                <a:latin typeface="TheSans Swisscom Light"/>
                <a:ea typeface="+mn-ea"/>
                <a:cs typeface="+mn-cs"/>
              </a:rPr>
              <a:t>What could be improved?</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BMP per-peer observation timestamp should be mandatory. See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4"/>
              </a:rPr>
              <a:t>https://datatracker.ietf.org/doc/html/draft-boucadair-nmop-rfc3535-20years-later-02#section-4.7</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gt; To be addressed in GROW/NMOP.</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BMP per-peer header should have an export timestamp. See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4"/>
              </a:rPr>
              <a:t>https://datatracker.ietf.org/doc/html/draft-boucadair-nmop-rfc3535-20years-later-02#section-4.7</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gt; To be addressed in </a:t>
            </a:r>
            <a:r>
              <a:rPr lang="en-US" sz="1300" b="1" dirty="0">
                <a:solidFill>
                  <a:srgbClr val="FF0000"/>
                </a:solidFill>
                <a:latin typeface="TheSans Swisscom Light"/>
              </a:rPr>
              <a:t>GROW/</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NMOP.</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5"/>
              </a:rPr>
              <a:t>RFC 8671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Support for Adj-RIB-Out in BMP) path propagation could have been observed on route-reflecto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6"/>
              </a:rPr>
              <a:t>draft-</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6"/>
              </a:rPr>
              <a:t>lucente</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6"/>
              </a:rPr>
              <a:t>-grow-bmp-</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6"/>
              </a:rPr>
              <a:t>rel</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Logging of routing events in BMP) path drops could been observed on Inter-AS </a:t>
            </a:r>
            <a:r>
              <a:rPr lang="en-US" sz="1300" dirty="0">
                <a:solidFill>
                  <a:srgbClr val="001155"/>
                </a:solidFill>
                <a:latin typeface="TheSans Swisscom Light"/>
              </a:rPr>
              <a:t>option B ASBRs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and route-reflecto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7"/>
              </a:rPr>
              <a:t>draft-</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7"/>
              </a:rPr>
              <a:t>ietf</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7"/>
              </a:rPr>
              <a:t>-grow-bmp-path-marking-</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7"/>
              </a:rPr>
              <a:t>tlv</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path status changed could have been observed on Inter-AS option B ASB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Clarify why Juniper </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rPr>
              <a:t>JunO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delayed BMP export for 20 resp. 80 minutes. Due to fact that the path was still passive in the BGP RIB?</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IPFIX (</a:t>
            </a:r>
            <a:r>
              <a:rPr kumimoji="0" lang="en-US" sz="1300" b="1" i="0" u="none" strike="noStrike" kern="1200" cap="none" spc="0" normalizeH="0" baseline="0" noProof="0" dirty="0" err="1">
                <a:ln>
                  <a:noFill/>
                </a:ln>
                <a:solidFill>
                  <a:srgbClr val="FF0000"/>
                </a:solidFill>
                <a:effectLst/>
                <a:uLnTx/>
                <a:uFillTx/>
                <a:latin typeface="TheSans Swisscom Light"/>
                <a:ea typeface="+mn-ea"/>
                <a:cs typeface="+mn-cs"/>
              </a:rPr>
              <a:t>deconfigured</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 due to PR1567039</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nd support of IE90 </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rPr>
              <a:t>ForwardingStatu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not supported on Juniper </a:t>
            </a:r>
            <a:r>
              <a:rPr kumimoji="0" lang="en-US" sz="1300" b="1" i="0" u="none" strike="noStrike" kern="1200" cap="none" spc="0" normalizeH="0" baseline="0" noProof="0" dirty="0" err="1">
                <a:ln>
                  <a:noFill/>
                </a:ln>
                <a:solidFill>
                  <a:srgbClr val="FF0000"/>
                </a:solidFill>
                <a:effectLst/>
                <a:uLnTx/>
                <a:uFillTx/>
                <a:latin typeface="TheSans Swisscom Light"/>
                <a:ea typeface="+mn-ea"/>
                <a:cs typeface="+mn-cs"/>
              </a:rPr>
              <a:t>JunO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forwarding drops could have been observed on Inter-AS option B ASBRs.</a:t>
            </a:r>
          </a:p>
        </p:txBody>
      </p:sp>
      <p:sp>
        <p:nvSpPr>
          <p:cNvPr id="4" name="Freeform 81">
            <a:extLst>
              <a:ext uri="{FF2B5EF4-FFF2-40B4-BE49-F238E27FC236}">
                <a16:creationId xmlns:a16="http://schemas.microsoft.com/office/drawing/2014/main" id="{75D43E75-002A-CEF2-3099-891BF5AA55A5}"/>
              </a:ext>
            </a:extLst>
          </p:cNvPr>
          <p:cNvSpPr>
            <a:spLocks noEditPoints="1"/>
          </p:cNvSpPr>
          <p:nvPr>
            <p:custDataLst>
              <p:tags r:id="rId1"/>
            </p:custDataLst>
          </p:nvPr>
        </p:nvSpPr>
        <p:spPr bwMode="black">
          <a:xfrm>
            <a:off x="5562854" y="804554"/>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0EAB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EABA9"/>
              </a:solidFill>
              <a:effectLst/>
              <a:uLnTx/>
              <a:uFillTx/>
              <a:latin typeface="TheSans Swisscom Light"/>
              <a:ea typeface="+mn-ea"/>
              <a:cs typeface="+mn-cs"/>
            </a:endParaRPr>
          </a:p>
        </p:txBody>
      </p:sp>
      <p:sp>
        <p:nvSpPr>
          <p:cNvPr id="7" name="Freeform 86">
            <a:extLst>
              <a:ext uri="{FF2B5EF4-FFF2-40B4-BE49-F238E27FC236}">
                <a16:creationId xmlns:a16="http://schemas.microsoft.com/office/drawing/2014/main" id="{EDDBA991-7DE5-B570-03DC-216A0F0CC38A}"/>
              </a:ext>
            </a:extLst>
          </p:cNvPr>
          <p:cNvSpPr>
            <a:spLocks noEditPoints="1"/>
          </p:cNvSpPr>
          <p:nvPr>
            <p:custDataLst>
              <p:tags r:id="rId2"/>
            </p:custDataLst>
          </p:nvPr>
        </p:nvSpPr>
        <p:spPr bwMode="black">
          <a:xfrm>
            <a:off x="5562854" y="2579425"/>
            <a:ext cx="331787" cy="363220"/>
          </a:xfrm>
          <a:custGeom>
            <a:avLst/>
            <a:gdLst>
              <a:gd name="T0" fmla="*/ 68 w 88"/>
              <a:gd name="T1" fmla="*/ 36 h 88"/>
              <a:gd name="T2" fmla="*/ 64 w 88"/>
              <a:gd name="T3" fmla="*/ 40 h 88"/>
              <a:gd name="T4" fmla="*/ 40 w 88"/>
              <a:gd name="T5" fmla="*/ 40 h 88"/>
              <a:gd name="T6" fmla="*/ 36 w 88"/>
              <a:gd name="T7" fmla="*/ 36 h 88"/>
              <a:gd name="T8" fmla="*/ 40 w 88"/>
              <a:gd name="T9" fmla="*/ 32 h 88"/>
              <a:gd name="T10" fmla="*/ 64 w 88"/>
              <a:gd name="T11" fmla="*/ 32 h 88"/>
              <a:gd name="T12" fmla="*/ 68 w 88"/>
              <a:gd name="T13" fmla="*/ 36 h 88"/>
              <a:gd name="T14" fmla="*/ 88 w 88"/>
              <a:gd name="T15" fmla="*/ 36 h 88"/>
              <a:gd name="T16" fmla="*/ 52 w 88"/>
              <a:gd name="T17" fmla="*/ 72 h 88"/>
              <a:gd name="T18" fmla="*/ 30 w 88"/>
              <a:gd name="T19" fmla="*/ 64 h 88"/>
              <a:gd name="T20" fmla="*/ 7 w 88"/>
              <a:gd name="T21" fmla="*/ 87 h 88"/>
              <a:gd name="T22" fmla="*/ 1 w 88"/>
              <a:gd name="T23" fmla="*/ 87 h 88"/>
              <a:gd name="T24" fmla="*/ 1 w 88"/>
              <a:gd name="T25" fmla="*/ 81 h 88"/>
              <a:gd name="T26" fmla="*/ 24 w 88"/>
              <a:gd name="T27" fmla="*/ 58 h 88"/>
              <a:gd name="T28" fmla="*/ 16 w 88"/>
              <a:gd name="T29" fmla="*/ 36 h 88"/>
              <a:gd name="T30" fmla="*/ 52 w 88"/>
              <a:gd name="T31" fmla="*/ 0 h 88"/>
              <a:gd name="T32" fmla="*/ 88 w 88"/>
              <a:gd name="T33" fmla="*/ 36 h 88"/>
              <a:gd name="T34" fmla="*/ 80 w 88"/>
              <a:gd name="T35" fmla="*/ 36 h 88"/>
              <a:gd name="T36" fmla="*/ 52 w 88"/>
              <a:gd name="T37" fmla="*/ 8 h 88"/>
              <a:gd name="T38" fmla="*/ 24 w 88"/>
              <a:gd name="T39" fmla="*/ 36 h 88"/>
              <a:gd name="T40" fmla="*/ 52 w 88"/>
              <a:gd name="T41" fmla="*/ 64 h 88"/>
              <a:gd name="T42" fmla="*/ 80 w 88"/>
              <a:gd name="T4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88">
                <a:moveTo>
                  <a:pt x="68" y="36"/>
                </a:moveTo>
                <a:cubicBezTo>
                  <a:pt x="68" y="38"/>
                  <a:pt x="66" y="40"/>
                  <a:pt x="64" y="40"/>
                </a:cubicBezTo>
                <a:cubicBezTo>
                  <a:pt x="40" y="40"/>
                  <a:pt x="40" y="40"/>
                  <a:pt x="40" y="40"/>
                </a:cubicBezTo>
                <a:cubicBezTo>
                  <a:pt x="38" y="40"/>
                  <a:pt x="36" y="38"/>
                  <a:pt x="36" y="36"/>
                </a:cubicBezTo>
                <a:cubicBezTo>
                  <a:pt x="36" y="34"/>
                  <a:pt x="38" y="32"/>
                  <a:pt x="40"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E61E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EABA9"/>
              </a:solidFill>
              <a:effectLst/>
              <a:uLnTx/>
              <a:uFillTx/>
              <a:latin typeface="TheSans Swisscom Light"/>
              <a:ea typeface="+mn-ea"/>
              <a:cs typeface="+mn-cs"/>
            </a:endParaRPr>
          </a:p>
        </p:txBody>
      </p:sp>
      <p:pic>
        <p:nvPicPr>
          <p:cNvPr id="8" name="Grafik 8">
            <a:extLst>
              <a:ext uri="{FF2B5EF4-FFF2-40B4-BE49-F238E27FC236}">
                <a16:creationId xmlns:a16="http://schemas.microsoft.com/office/drawing/2014/main" id="{FC7E05E9-1679-03AD-2D45-5098030D092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29024" y="1376174"/>
            <a:ext cx="409069" cy="409069"/>
          </a:xfrm>
          <a:prstGeom prst="rect">
            <a:avLst/>
          </a:prstGeom>
        </p:spPr>
      </p:pic>
    </p:spTree>
    <p:extLst>
      <p:ext uri="{BB962C8B-B14F-4D97-AF65-F5344CB8AC3E}">
        <p14:creationId xmlns:p14="http://schemas.microsoft.com/office/powerpoint/2010/main" val="2035929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36</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Summary</a:t>
            </a:r>
            <a:br>
              <a:rPr lang="en-US" sz="3600" dirty="0"/>
            </a:br>
            <a:r>
              <a:rPr lang="en-US" sz="2700" dirty="0">
                <a:solidFill>
                  <a:srgbClr val="AEABAB"/>
                </a:solidFill>
              </a:rPr>
              <a:t>After 20 Incidents and 18 Months Time</a:t>
            </a:r>
            <a:endParaRPr sz="2700" dirty="0">
              <a:solidFill>
                <a:srgbClr val="FF0000"/>
              </a:solidFill>
            </a:endParaRPr>
          </a:p>
        </p:txBody>
      </p:sp>
      <p:sp>
        <p:nvSpPr>
          <p:cNvPr id="14" name="Rechteck 13">
            <a:extLst>
              <a:ext uri="{FF2B5EF4-FFF2-40B4-BE49-F238E27FC236}">
                <a16:creationId xmlns:a16="http://schemas.microsoft.com/office/drawing/2014/main" id="{46649985-4213-9CB3-CD81-79D4DB248DAF}"/>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Apache Druid delayed ingestion</a:t>
            </a:r>
          </a:p>
        </p:txBody>
      </p:sp>
      <p:cxnSp>
        <p:nvCxnSpPr>
          <p:cNvPr id="15" name="Gerade Verbindung 36">
            <a:extLst>
              <a:ext uri="{FF2B5EF4-FFF2-40B4-BE49-F238E27FC236}">
                <a16:creationId xmlns:a16="http://schemas.microsoft.com/office/drawing/2014/main" id="{CEF6A92B-B282-4279-BF45-3D3805A69CF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Gerade Verbindung 41">
            <a:extLst>
              <a:ext uri="{FF2B5EF4-FFF2-40B4-BE49-F238E27FC236}">
                <a16:creationId xmlns:a16="http://schemas.microsoft.com/office/drawing/2014/main" id="{1DCCF47F-8DC3-9197-7101-4DE7468021A8}"/>
              </a:ext>
            </a:extLst>
          </p:cNvPr>
          <p:cNvCxnSpPr>
            <a:cxnSpLocks/>
          </p:cNvCxnSpPr>
          <p:nvPr/>
        </p:nvCxnSpPr>
        <p:spPr bwMode="gray">
          <a:xfrm>
            <a:off x="4886269" y="2552944"/>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Gerade Verbindung 41">
            <a:extLst>
              <a:ext uri="{FF2B5EF4-FFF2-40B4-BE49-F238E27FC236}">
                <a16:creationId xmlns:a16="http://schemas.microsoft.com/office/drawing/2014/main" id="{CA870199-91A5-610F-5CB6-418A1191A95D}"/>
              </a:ext>
            </a:extLst>
          </p:cNvPr>
          <p:cNvCxnSpPr>
            <a:cxnSpLocks/>
          </p:cNvCxnSpPr>
          <p:nvPr/>
        </p:nvCxnSpPr>
        <p:spPr bwMode="gray">
          <a:xfrm>
            <a:off x="384041" y="2263689"/>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076CE855-379A-5BE7-9E3E-05D784B2CF9D}"/>
              </a:ext>
            </a:extLst>
          </p:cNvPr>
          <p:cNvSpPr/>
          <p:nvPr/>
        </p:nvSpPr>
        <p:spPr bwMode="gray">
          <a:xfrm>
            <a:off x="384041" y="2263689"/>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Replay </a:t>
            </a:r>
            <a:br>
              <a:rPr kumimoji="0" lang="en-US" sz="2000" b="0" i="0" u="none" strike="noStrike" kern="1200" cap="none" spc="0" normalizeH="0" baseline="0" noProof="0" dirty="0">
                <a:ln>
                  <a:noFill/>
                </a:ln>
                <a:solidFill>
                  <a:srgbClr val="333333"/>
                </a:solidFill>
                <a:effectLst/>
                <a:uLnTx/>
                <a:uFillTx/>
                <a:ea typeface="+mn-ea"/>
                <a:cs typeface="+mn-cs"/>
              </a:rPr>
            </a:br>
            <a:r>
              <a:rPr kumimoji="0" lang="en-US" sz="2000" b="0" i="0" u="none" strike="noStrike" kern="1200" cap="none" spc="0" normalizeH="0" baseline="0" noProof="0" dirty="0">
                <a:ln>
                  <a:noFill/>
                </a:ln>
                <a:solidFill>
                  <a:srgbClr val="333333"/>
                </a:solidFill>
                <a:effectLst/>
                <a:uLnTx/>
                <a:uFillTx/>
                <a:ea typeface="+mn-ea"/>
                <a:cs typeface="+mn-cs"/>
              </a:rPr>
              <a:t>Incident Detected</a:t>
            </a:r>
          </a:p>
        </p:txBody>
      </p:sp>
      <p:graphicFrame>
        <p:nvGraphicFramePr>
          <p:cNvPr id="19" name="Diagramm 6">
            <a:extLst>
              <a:ext uri="{FF2B5EF4-FFF2-40B4-BE49-F238E27FC236}">
                <a16:creationId xmlns:a16="http://schemas.microsoft.com/office/drawing/2014/main" id="{A546FED3-E59F-243C-BAB2-70CE2751222B}"/>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hteck 7">
            <a:extLst>
              <a:ext uri="{FF2B5EF4-FFF2-40B4-BE49-F238E27FC236}">
                <a16:creationId xmlns:a16="http://schemas.microsoft.com/office/drawing/2014/main" id="{6DEE297B-FA92-D4CB-4DB8-B62139988C22}"/>
              </a:ext>
            </a:extLst>
          </p:cNvPr>
          <p:cNvSpPr/>
          <p:nvPr/>
        </p:nvSpPr>
        <p:spPr bwMode="gray">
          <a:xfrm>
            <a:off x="5750364" y="2552944"/>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1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Near Real-Time Incident Detected </a:t>
            </a:r>
          </a:p>
        </p:txBody>
      </p:sp>
      <p:sp>
        <p:nvSpPr>
          <p:cNvPr id="21" name="Rechteck 10">
            <a:extLst>
              <a:ext uri="{FF2B5EF4-FFF2-40B4-BE49-F238E27FC236}">
                <a16:creationId xmlns:a16="http://schemas.microsoft.com/office/drawing/2014/main" id="{85D4E516-F628-FE69-DA43-10B3210E9A28}"/>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previous week data not comparable</a:t>
            </a:r>
          </a:p>
        </p:txBody>
      </p:sp>
      <p:cxnSp>
        <p:nvCxnSpPr>
          <p:cNvPr id="22" name="Gerade Verbindung 36">
            <a:extLst>
              <a:ext uri="{FF2B5EF4-FFF2-40B4-BE49-F238E27FC236}">
                <a16:creationId xmlns:a16="http://schemas.microsoft.com/office/drawing/2014/main" id="{FBEAF735-DF81-0A3B-9CB7-88B14D0CC20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Ellipse 35">
            <a:extLst>
              <a:ext uri="{FF2B5EF4-FFF2-40B4-BE49-F238E27FC236}">
                <a16:creationId xmlns:a16="http://schemas.microsoft.com/office/drawing/2014/main" id="{91B0341B-389C-4CE5-4F90-6C77E3EDD7E5}"/>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72 Alert Notifications</a:t>
            </a: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365125"/>
            <a:ext cx="3342005" cy="4540647"/>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fontAlgn="auto">
              <a:lnSpc>
                <a:spcPct val="110000"/>
              </a:lnSpc>
              <a:spcBef>
                <a:spcPts val="0"/>
              </a:spcBef>
              <a:buClrTx/>
              <a:buSzTx/>
              <a:tabLst/>
              <a:defRPr/>
            </a:pPr>
            <a:r>
              <a:rPr lang="en-US" sz="2000" b="1" dirty="0"/>
              <a:t>Key Facts in V0 (2023-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16 L3 VPNs proactively monitored.</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dividual Service Disruption Detection rule accuracy is beyond 90%. Summed accuracy is beyond 9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Max Concern score ranged between 0.06 and 0.85. In average 0.46.</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 4 cases additional YANG, in 13 cases additional BMP, in 2 cases Netconf Transaction-ID and 1 case additional </a:t>
            </a:r>
            <a:br>
              <a:rPr lang="en-US" sz="2000" dirty="0"/>
            </a:br>
            <a:r>
              <a:rPr lang="en-US" sz="2000" dirty="0"/>
              <a:t>L2 IPFIX metrics would have helped to gain more visibility.</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Key observability feature missing: BMP Local RIB with Path Marking.</a:t>
            </a:r>
          </a:p>
        </p:txBody>
      </p:sp>
    </p:spTree>
    <p:extLst>
      <p:ext uri="{BB962C8B-B14F-4D97-AF65-F5344CB8AC3E}">
        <p14:creationId xmlns:p14="http://schemas.microsoft.com/office/powerpoint/2010/main" val="4923728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37</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Detail</a:t>
            </a:r>
            <a:br>
              <a:rPr lang="en-US" sz="3600" dirty="0"/>
            </a:br>
            <a:r>
              <a:rPr lang="en-US" sz="2700" dirty="0">
                <a:solidFill>
                  <a:srgbClr val="AEABAB"/>
                </a:solidFill>
              </a:rPr>
              <a:t>Multiple Perspectives increases Accuracy</a:t>
            </a:r>
            <a:endParaRPr sz="2700" dirty="0">
              <a:solidFill>
                <a:srgbClr val="FF0000"/>
              </a:solidFill>
            </a:endParaRP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298580"/>
            <a:ext cx="3342005" cy="4607192"/>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0">
              <a:spcBef>
                <a:spcPts val="0"/>
              </a:spcBef>
              <a:defRPr/>
            </a:pPr>
            <a:r>
              <a:rPr lang="en-US" sz="2000" b="1" dirty="0"/>
              <a:t>Key Improvements in V1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gt;12000 L3 VPNs proactively monitored since June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Realtime Streaming eliminates delayed ingestion falls positives and scaling.</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Improved profiling. Compares to multiple previous weeks and discard largest deviation eliminates falls positives. </a:t>
            </a:r>
            <a:br>
              <a:rPr lang="en-US" sz="2000" dirty="0"/>
            </a:br>
            <a:r>
              <a:rPr lang="en-US" sz="2000" dirty="0">
                <a:solidFill>
                  <a:srgbClr val="FF0000"/>
                </a:solidFill>
              </a:rPr>
              <a:t>-&gt; Work In progress</a:t>
            </a:r>
          </a:p>
          <a:p>
            <a:pPr marR="0" fontAlgn="auto">
              <a:buClr>
                <a:schemeClr val="dk2"/>
              </a:buClr>
              <a:buSzPts val="1700"/>
              <a:tabLst/>
              <a:defRPr/>
            </a:pPr>
            <a:r>
              <a:rPr lang="en-US" sz="2000" b="1" dirty="0"/>
              <a:t>Key Improvements in V2 (202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Annotate operational and analytical Network Incident data for reproduction. </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Enabling automated workflow. From PowerPoint slide decks to data driven actionable insights.</a:t>
            </a:r>
          </a:p>
        </p:txBody>
      </p:sp>
      <p:cxnSp>
        <p:nvCxnSpPr>
          <p:cNvPr id="11" name="Gerade Verbindung 36">
            <a:extLst>
              <a:ext uri="{FF2B5EF4-FFF2-40B4-BE49-F238E27FC236}">
                <a16:creationId xmlns:a16="http://schemas.microsoft.com/office/drawing/2014/main" id="{062C5BA3-5F91-9A56-0FB2-A157ECDE464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Rechteck 13">
            <a:extLst>
              <a:ext uri="{FF2B5EF4-FFF2-40B4-BE49-F238E27FC236}">
                <a16:creationId xmlns:a16="http://schemas.microsoft.com/office/drawing/2014/main" id="{AD9C517B-83D2-54B1-E453-87AB53D758AC}"/>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hree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cxnSp>
        <p:nvCxnSpPr>
          <p:cNvPr id="13" name="Gerade Verbindung 36">
            <a:extLst>
              <a:ext uri="{FF2B5EF4-FFF2-40B4-BE49-F238E27FC236}">
                <a16:creationId xmlns:a16="http://schemas.microsoft.com/office/drawing/2014/main" id="{CEF329FF-9858-805F-3FE2-E6ED779C859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Gerade Verbindung 41">
            <a:extLst>
              <a:ext uri="{FF2B5EF4-FFF2-40B4-BE49-F238E27FC236}">
                <a16:creationId xmlns:a16="http://schemas.microsoft.com/office/drawing/2014/main" id="{AF5E5FD4-37C3-D6F8-F40D-7E093B667EC3}"/>
              </a:ext>
            </a:extLst>
          </p:cNvPr>
          <p:cNvCxnSpPr>
            <a:cxnSpLocks/>
          </p:cNvCxnSpPr>
          <p:nvPr/>
        </p:nvCxnSpPr>
        <p:spPr bwMode="gray">
          <a:xfrm>
            <a:off x="4886269" y="2123730"/>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Gerade Verbindung 41">
            <a:extLst>
              <a:ext uri="{FF2B5EF4-FFF2-40B4-BE49-F238E27FC236}">
                <a16:creationId xmlns:a16="http://schemas.microsoft.com/office/drawing/2014/main" id="{FC2ED9A3-59E2-4C02-0C42-7DF18209075A}"/>
              </a:ext>
            </a:extLst>
          </p:cNvPr>
          <p:cNvCxnSpPr>
            <a:cxnSpLocks/>
          </p:cNvCxnSpPr>
          <p:nvPr/>
        </p:nvCxnSpPr>
        <p:spPr bwMode="gray">
          <a:xfrm>
            <a:off x="384041" y="2067743"/>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Rechteck 17">
            <a:extLst>
              <a:ext uri="{FF2B5EF4-FFF2-40B4-BE49-F238E27FC236}">
                <a16:creationId xmlns:a16="http://schemas.microsoft.com/office/drawing/2014/main" id="{A0A23C6E-629E-964B-D209-55C41415F495}"/>
              </a:ext>
            </a:extLst>
          </p:cNvPr>
          <p:cNvSpPr/>
          <p:nvPr/>
        </p:nvSpPr>
        <p:spPr bwMode="gray">
          <a:xfrm>
            <a:off x="384041" y="206774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One</a:t>
            </a:r>
            <a:r>
              <a:rPr kumimoji="0" lang="en-US" sz="2000" b="1" i="0" u="none" strike="noStrike" kern="1200" cap="none" spc="0" normalizeH="0" baseline="0" noProof="0" dirty="0">
                <a:ln>
                  <a:noFill/>
                </a:ln>
                <a:solidFill>
                  <a:srgbClr val="333333"/>
                </a:solidFill>
                <a:effectLst/>
                <a:uLnTx/>
                <a:uFillTx/>
                <a:ea typeface="+mn-ea"/>
                <a:cs typeface="+mn-cs"/>
              </a:rPr>
              <a:t>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graphicFrame>
        <p:nvGraphicFramePr>
          <p:cNvPr id="28" name="Diagramm 6">
            <a:extLst>
              <a:ext uri="{FF2B5EF4-FFF2-40B4-BE49-F238E27FC236}">
                <a16:creationId xmlns:a16="http://schemas.microsoft.com/office/drawing/2014/main" id="{E462DE10-6669-9C49-0CAA-BEE5932E0368}"/>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hteck 7">
            <a:extLst>
              <a:ext uri="{FF2B5EF4-FFF2-40B4-BE49-F238E27FC236}">
                <a16:creationId xmlns:a16="http://schemas.microsoft.com/office/drawing/2014/main" id="{809AFD71-3FC6-697F-22C0-8EC176FB8038}"/>
              </a:ext>
            </a:extLst>
          </p:cNvPr>
          <p:cNvSpPr/>
          <p:nvPr/>
        </p:nvSpPr>
        <p:spPr bwMode="gray">
          <a:xfrm>
            <a:off x="5750364" y="2123730"/>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Four</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0" name="Rechteck 10">
            <a:extLst>
              <a:ext uri="{FF2B5EF4-FFF2-40B4-BE49-F238E27FC236}">
                <a16:creationId xmlns:a16="http://schemas.microsoft.com/office/drawing/2014/main" id="{004890FF-C65E-F04C-7769-5B2592C0DF5A}"/>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wo</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1" name="Ellipse 35">
            <a:extLst>
              <a:ext uri="{FF2B5EF4-FFF2-40B4-BE49-F238E27FC236}">
                <a16:creationId xmlns:a16="http://schemas.microsoft.com/office/drawing/2014/main" id="{6A6F152D-314F-BC9C-874B-092EFB581BAC}"/>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0 Network Incidents</a:t>
            </a:r>
          </a:p>
        </p:txBody>
      </p:sp>
    </p:spTree>
    <p:extLst>
      <p:ext uri="{BB962C8B-B14F-4D97-AF65-F5344CB8AC3E}">
        <p14:creationId xmlns:p14="http://schemas.microsoft.com/office/powerpoint/2010/main" val="11087197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Network Anomaly Detection Framework</a:t>
            </a:r>
            <a:br>
              <a:rPr lang="en-GB" sz="3600" dirty="0"/>
            </a:br>
            <a:r>
              <a:rPr lang="en-US" sz="2700" dirty="0">
                <a:solidFill>
                  <a:schemeClr val="bg2">
                    <a:lumMod val="75000"/>
                  </a:schemeClr>
                </a:solidFill>
              </a:rPr>
              <a:t>Detect service interruption faster then humans can</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Incident and Problem Management:</a:t>
            </a:r>
            <a:endParaRPr lang="en-US" sz="2000" dirty="0"/>
          </a:p>
          <a:p>
            <a:r>
              <a:rPr lang="en-US" sz="1900" dirty="0"/>
              <a:t>Some Key Terms for Network Incident and Problem Management</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ietf</a:t>
            </a:r>
            <a:r>
              <a:rPr lang="en-US" sz="1900" dirty="0">
                <a:ea typeface="Times New Roman" panose="02020603050405020304" pitchFamily="18" charset="0"/>
                <a:hlinkClick r:id="rId3"/>
              </a:rPr>
              <a:t>-</a:t>
            </a:r>
            <a:r>
              <a:rPr lang="en-US" sz="1900" dirty="0" err="1">
                <a:ea typeface="Times New Roman" panose="02020603050405020304" pitchFamily="18" charset="0"/>
                <a:hlinkClick r:id="rId3"/>
              </a:rPr>
              <a:t>nmop</a:t>
            </a:r>
            <a:r>
              <a:rPr lang="en-US" sz="1900" dirty="0">
                <a:ea typeface="Times New Roman" panose="02020603050405020304" pitchFamily="18" charset="0"/>
                <a:hlinkClick r:id="rId3"/>
              </a:rPr>
              <a:t>-terminology</a:t>
            </a:r>
            <a:r>
              <a:rPr lang="en-US" sz="1900" dirty="0">
                <a:ea typeface="Times New Roman" panose="02020603050405020304" pitchFamily="18" charset="0"/>
              </a:rPr>
              <a:t> </a:t>
            </a:r>
          </a:p>
          <a:p>
            <a:pPr marL="0" indent="0">
              <a:spcBef>
                <a:spcPts val="1800"/>
              </a:spcBef>
              <a:buNone/>
            </a:pPr>
            <a:r>
              <a:rPr lang="en-US" sz="2000" b="1" dirty="0"/>
              <a:t>Network Anomaly Detection:</a:t>
            </a:r>
          </a:p>
          <a:p>
            <a:r>
              <a:rPr lang="en-US" sz="1900" dirty="0"/>
              <a:t>An Architecture for a Network Anomaly Detection Framework</a:t>
            </a:r>
            <a:br>
              <a:rPr lang="en-US" sz="1900" dirty="0"/>
            </a:br>
            <a:r>
              <a:rPr lang="en-US" sz="1900" dirty="0">
                <a:hlinkClick r:id="rId4"/>
              </a:rPr>
              <a:t>draft-</a:t>
            </a:r>
            <a:r>
              <a:rPr lang="en-US" sz="1900" dirty="0" err="1">
                <a:hlinkClick r:id="rId4"/>
              </a:rPr>
              <a:t>netana</a:t>
            </a:r>
            <a:r>
              <a:rPr lang="en-US" sz="1900" dirty="0">
                <a:hlinkClick r:id="rId4"/>
              </a:rPr>
              <a:t>-</a:t>
            </a:r>
            <a:r>
              <a:rPr lang="en-US" sz="1900" dirty="0" err="1">
                <a:hlinkClick r:id="rId4"/>
              </a:rPr>
              <a:t>nmop</a:t>
            </a:r>
            <a:r>
              <a:rPr lang="en-US" sz="1900" dirty="0">
                <a:hlinkClick r:id="rId4"/>
              </a:rPr>
              <a:t>-network-anomaly-architecture </a:t>
            </a:r>
            <a:endParaRPr lang="en-US" sz="1900" dirty="0"/>
          </a:p>
          <a:p>
            <a:r>
              <a:rPr lang="en-US" sz="1900" dirty="0"/>
              <a:t>Semantic Metadata Annotation for Network Anomaly Detection</a:t>
            </a:r>
            <a:br>
              <a:rPr lang="en-US" sz="1900" dirty="0"/>
            </a:br>
            <a:r>
              <a:rPr lang="en-US" sz="1900" dirty="0">
                <a:hlinkClick r:id="rId5"/>
              </a:rPr>
              <a:t>draft-</a:t>
            </a:r>
            <a:r>
              <a:rPr lang="en-US" sz="1900" dirty="0" err="1">
                <a:hlinkClick r:id="rId5"/>
              </a:rPr>
              <a:t>netana</a:t>
            </a:r>
            <a:r>
              <a:rPr lang="en-US" sz="1900" dirty="0">
                <a:hlinkClick r:id="rId5"/>
              </a:rPr>
              <a:t>-</a:t>
            </a:r>
            <a:r>
              <a:rPr lang="en-US" sz="1900" dirty="0" err="1">
                <a:hlinkClick r:id="rId5"/>
              </a:rPr>
              <a:t>nmop</a:t>
            </a:r>
            <a:r>
              <a:rPr lang="en-US" sz="1900" dirty="0">
                <a:hlinkClick r:id="rId5"/>
              </a:rPr>
              <a:t>-network-anomaly-semantics</a:t>
            </a:r>
            <a:r>
              <a:rPr lang="en-US" sz="1900" dirty="0">
                <a:hlinkClick r:id="rId6"/>
              </a:rPr>
              <a:t> </a:t>
            </a:r>
            <a:endParaRPr lang="en-US" sz="1900" dirty="0"/>
          </a:p>
          <a:p>
            <a:r>
              <a:rPr lang="en-US" sz="1900" dirty="0"/>
              <a:t>Experiment: Network Anomaly Lifecycle</a:t>
            </a:r>
            <a:br>
              <a:rPr lang="en-US" sz="1900" dirty="0"/>
            </a:br>
            <a:r>
              <a:rPr lang="en-US" sz="1900" dirty="0">
                <a:hlinkClick r:id="rId7"/>
              </a:rPr>
              <a:t>draft-</a:t>
            </a:r>
            <a:r>
              <a:rPr lang="en-US" sz="1900" dirty="0" err="1">
                <a:hlinkClick r:id="rId7"/>
              </a:rPr>
              <a:t>netana</a:t>
            </a:r>
            <a:r>
              <a:rPr lang="en-US" sz="1900" dirty="0">
                <a:hlinkClick r:id="rId7"/>
              </a:rPr>
              <a:t>-</a:t>
            </a:r>
            <a:r>
              <a:rPr lang="en-US" sz="1900" dirty="0" err="1">
                <a:hlinkClick r:id="rId7"/>
              </a:rPr>
              <a:t>nmop</a:t>
            </a:r>
            <a:r>
              <a:rPr lang="en-US" sz="1900" dirty="0">
                <a:hlinkClick r:id="rId7"/>
              </a:rPr>
              <a:t>-network-anomaly-lifecycle </a:t>
            </a:r>
            <a:endParaRPr lang="en-US" sz="1900" dirty="0"/>
          </a:p>
        </p:txBody>
      </p:sp>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8</a:t>
            </a:fld>
            <a:endParaRPr lang="de-CH" sz="1400" dirty="0"/>
          </a:p>
        </p:txBody>
      </p:sp>
      <p:cxnSp>
        <p:nvCxnSpPr>
          <p:cNvPr id="7" name="Straight Arrow Connector 6">
            <a:extLst>
              <a:ext uri="{FF2B5EF4-FFF2-40B4-BE49-F238E27FC236}">
                <a16:creationId xmlns:a16="http://schemas.microsoft.com/office/drawing/2014/main" id="{83D1F104-0557-6EDA-760C-077B5A18DE98}"/>
              </a:ext>
            </a:extLst>
          </p:cNvPr>
          <p:cNvCxnSpPr>
            <a:cxnSpLocks/>
          </p:cNvCxnSpPr>
          <p:nvPr/>
        </p:nvCxnSpPr>
        <p:spPr>
          <a:xfrm>
            <a:off x="4161453" y="2537927"/>
            <a:ext cx="4142792"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9F78903-BA21-F9F1-17B7-8DE3FB96072C}"/>
              </a:ext>
            </a:extLst>
          </p:cNvPr>
          <p:cNvCxnSpPr>
            <a:cxnSpLocks/>
          </p:cNvCxnSpPr>
          <p:nvPr/>
        </p:nvCxnSpPr>
        <p:spPr>
          <a:xfrm>
            <a:off x="6096000" y="4351176"/>
            <a:ext cx="2208245"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D5E84-A66D-A11B-4F94-5E8AB181E3F5}"/>
              </a:ext>
            </a:extLst>
          </p:cNvPr>
          <p:cNvCxnSpPr>
            <a:cxnSpLocks/>
          </p:cNvCxnSpPr>
          <p:nvPr/>
        </p:nvCxnSpPr>
        <p:spPr>
          <a:xfrm>
            <a:off x="5956042" y="4988767"/>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1CF2E6B-29BB-3B8F-A4FD-C8E8A73C2282}"/>
              </a:ext>
            </a:extLst>
          </p:cNvPr>
          <p:cNvSpPr txBox="1"/>
          <p:nvPr/>
        </p:nvSpPr>
        <p:spPr>
          <a:xfrm>
            <a:off x="8585849" y="629731"/>
            <a:ext cx="3209168" cy="5509200"/>
          </a:xfrm>
          <a:prstGeom prst="rect">
            <a:avLst/>
          </a:prstGeom>
          <a:noFill/>
        </p:spPr>
        <p:txBody>
          <a:bodyPr wrap="square">
            <a:spAutoFit/>
          </a:bodyPr>
          <a:lstStyle/>
          <a:p>
            <a:pPr algn="ctr"/>
            <a:r>
              <a:rPr lang="en-US" sz="2200" b="1" dirty="0">
                <a:latin typeface="+mj-lt"/>
              </a:rPr>
              <a:t>« </a:t>
            </a:r>
            <a:r>
              <a:rPr lang="en-US" sz="2200" dirty="0">
                <a:latin typeface="+mj-lt"/>
              </a:rPr>
              <a:t>Addressing the need to detect connectivity service interruption faster than humans can and facilitate collaboration by enabling exchange on labeled data with standardized semantics on a common framework. </a:t>
            </a:r>
            <a:br>
              <a:rPr lang="en-US" sz="2200" dirty="0">
                <a:latin typeface="+mj-lt"/>
              </a:rPr>
            </a:br>
            <a:r>
              <a:rPr lang="en-US" sz="2200" b="1" dirty="0">
                <a:solidFill>
                  <a:srgbClr val="FF0000"/>
                </a:solidFill>
                <a:latin typeface="+mj-lt"/>
              </a:rPr>
              <a:t>Please consider to attend IETF 120 NMOP working group session on </a:t>
            </a:r>
            <a:br>
              <a:rPr lang="en-US" sz="2200" b="1" dirty="0">
                <a:solidFill>
                  <a:srgbClr val="FF0000"/>
                </a:solidFill>
                <a:latin typeface="+mj-lt"/>
              </a:rPr>
            </a:br>
            <a:r>
              <a:rPr lang="en-US" sz="2200" b="1" dirty="0">
                <a:solidFill>
                  <a:srgbClr val="FF0000"/>
                </a:solidFill>
                <a:latin typeface="+mj-lt"/>
              </a:rPr>
              <a:t>Friday 13:00 – 15:00 </a:t>
            </a:r>
          </a:p>
          <a:p>
            <a:pPr algn="ctr"/>
            <a:r>
              <a:rPr lang="en-US" sz="2200" b="1" dirty="0">
                <a:solidFill>
                  <a:srgbClr val="FF0000"/>
                </a:solidFill>
                <a:latin typeface="+mj-lt"/>
              </a:rPr>
              <a:t>or go onto the mailing list and contribute to the discussion. </a:t>
            </a:r>
            <a:r>
              <a:rPr lang="de-CH" sz="2200" b="1" dirty="0">
                <a:latin typeface="+mj-lt"/>
              </a:rPr>
              <a:t>»</a:t>
            </a:r>
            <a:endParaRPr lang="en-US" sz="2200" b="1" dirty="0">
              <a:latin typeface="+mj-lt"/>
            </a:endParaRPr>
          </a:p>
        </p:txBody>
      </p:sp>
      <p:cxnSp>
        <p:nvCxnSpPr>
          <p:cNvPr id="21" name="Straight Arrow Connector 20">
            <a:extLst>
              <a:ext uri="{FF2B5EF4-FFF2-40B4-BE49-F238E27FC236}">
                <a16:creationId xmlns:a16="http://schemas.microsoft.com/office/drawing/2014/main" id="{DCC108B7-3175-A51B-346A-B1C4613E8455}"/>
              </a:ext>
            </a:extLst>
          </p:cNvPr>
          <p:cNvCxnSpPr>
            <a:cxnSpLocks/>
          </p:cNvCxnSpPr>
          <p:nvPr/>
        </p:nvCxnSpPr>
        <p:spPr>
          <a:xfrm>
            <a:off x="6316824" y="3666097"/>
            <a:ext cx="1987421"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60420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Relevant Papers for more Details</a:t>
            </a:r>
            <a:endParaRPr lang="en-US" sz="2700" dirty="0">
              <a:solidFill>
                <a:srgbClr val="FF0000"/>
              </a:solidFill>
            </a:endParaRPr>
          </a:p>
        </p:txBody>
      </p:sp>
      <p:sp>
        <p:nvSpPr>
          <p:cNvPr id="4" name="TextBox 3">
            <a:extLst>
              <a:ext uri="{FF2B5EF4-FFF2-40B4-BE49-F238E27FC236}">
                <a16:creationId xmlns:a16="http://schemas.microsoft.com/office/drawing/2014/main" id="{279CCA46-54CC-70D9-B2CA-4E872F0A18BD}"/>
              </a:ext>
            </a:extLst>
          </p:cNvPr>
          <p:cNvSpPr txBox="1"/>
          <p:nvPr/>
        </p:nvSpPr>
        <p:spPr>
          <a:xfrm>
            <a:off x="6777879" y="5422918"/>
            <a:ext cx="4746153" cy="1877437"/>
          </a:xfrm>
          <a:prstGeom prst="rect">
            <a:avLst/>
          </a:prstGeom>
          <a:noFill/>
        </p:spPr>
        <p:txBody>
          <a:bodyPr wrap="square">
            <a:spAutoFit/>
          </a:bodyPr>
          <a:lstStyle/>
          <a:p>
            <a:pPr algn="ctr"/>
            <a:r>
              <a:rPr lang="en-GB" sz="1600" dirty="0">
                <a:solidFill>
                  <a:srgbClr val="595959"/>
                </a:solidFill>
                <a:latin typeface="Lato" panose="020F0502020204030203" pitchFamily="34" charset="0"/>
              </a:rPr>
              <a:t>Paper “</a:t>
            </a:r>
            <a:r>
              <a:rPr lang="en-GB" sz="1600" b="1" dirty="0">
                <a:solidFill>
                  <a:srgbClr val="FF0000"/>
                </a:solidFill>
                <a:latin typeface="Lato" panose="020F0502020204030203" pitchFamily="34" charset="0"/>
              </a:rPr>
              <a:t>Daisy: Practical Anomaly Detection in large BGP/MPLS and BGP/SRv6 VPN Networks</a:t>
            </a:r>
            <a:r>
              <a:rPr lang="en-GB" sz="1600" dirty="0">
                <a:solidFill>
                  <a:srgbClr val="595959"/>
                </a:solidFill>
                <a:latin typeface="Lato" panose="020F0502020204030203" pitchFamily="34" charset="0"/>
              </a:rPr>
              <a:t>” </a:t>
            </a:r>
            <a:r>
              <a:rPr lang="en-GB" sz="1600" dirty="0">
                <a:solidFill>
                  <a:schemeClr val="bg2">
                    <a:lumMod val="75000"/>
                  </a:schemeClr>
                </a:solidFill>
              </a:rPr>
              <a:t>published at ACM/IRTF ANRW’23  </a:t>
            </a:r>
          </a:p>
          <a:p>
            <a:pPr algn="ctr"/>
            <a:r>
              <a:rPr lang="en-GB" sz="1600" dirty="0">
                <a:solidFill>
                  <a:schemeClr val="bg2">
                    <a:lumMod val="75000"/>
                  </a:schemeClr>
                </a:solidFill>
              </a:rPr>
              <a:t>San Francisco, USA (24 July 2023)</a:t>
            </a:r>
          </a:p>
          <a:p>
            <a:pPr algn="ctr"/>
            <a:r>
              <a:rPr lang="en-GB" sz="1600" dirty="0">
                <a:solidFill>
                  <a:schemeClr val="bg2">
                    <a:lumMod val="75000"/>
                  </a:schemeClr>
                </a:solidFill>
              </a:rPr>
              <a:t>Open access: </a:t>
            </a:r>
            <a:r>
              <a:rPr lang="en-GB" sz="1600" dirty="0">
                <a:solidFill>
                  <a:schemeClr val="bg2">
                    <a:lumMod val="75000"/>
                  </a:schemeClr>
                </a:solidFill>
                <a:hlinkClick r:id="rId3">
                  <a:extLst>
                    <a:ext uri="{A12FA001-AC4F-418D-AE19-62706E023703}">
                      <ahyp:hlinkClr xmlns:ahyp="http://schemas.microsoft.com/office/drawing/2018/hyperlinkcolor" val="tx"/>
                    </a:ext>
                  </a:extLst>
                </a:hlinkClick>
              </a:rPr>
              <a:t>http://hal.science/hal-04307611</a:t>
            </a:r>
            <a:r>
              <a:rPr lang="en-GB" sz="1600" dirty="0">
                <a:solidFill>
                  <a:schemeClr val="bg2">
                    <a:lumMod val="75000"/>
                  </a:schemeClr>
                </a:solidFill>
              </a:rPr>
              <a:t> </a:t>
            </a:r>
          </a:p>
          <a:p>
            <a:br>
              <a:rPr lang="en-GB" dirty="0"/>
            </a:br>
            <a:endParaRPr lang="en-CH" dirty="0"/>
          </a:p>
        </p:txBody>
      </p:sp>
      <p:sp>
        <p:nvSpPr>
          <p:cNvPr id="8" name="TextBox 7">
            <a:extLst>
              <a:ext uri="{FF2B5EF4-FFF2-40B4-BE49-F238E27FC236}">
                <a16:creationId xmlns:a16="http://schemas.microsoft.com/office/drawing/2014/main" id="{84DD77D7-EFA0-3B7E-AB08-B58948BB11B6}"/>
              </a:ext>
            </a:extLst>
          </p:cNvPr>
          <p:cNvSpPr txBox="1"/>
          <p:nvPr/>
        </p:nvSpPr>
        <p:spPr>
          <a:xfrm>
            <a:off x="1246023" y="5169986"/>
            <a:ext cx="4672864" cy="1569660"/>
          </a:xfrm>
          <a:prstGeom prst="rect">
            <a:avLst/>
          </a:prstGeom>
          <a:noFill/>
        </p:spPr>
        <p:txBody>
          <a:bodyPr wrap="square">
            <a:spAutoFit/>
          </a:bodyPr>
          <a:lstStyle/>
          <a:p>
            <a:pPr algn="ctr" rtl="0">
              <a:spcBef>
                <a:spcPts val="0"/>
              </a:spcBef>
              <a:spcAft>
                <a:spcPts val="0"/>
              </a:spcAft>
            </a:pPr>
            <a:r>
              <a:rPr lang="en-GB" sz="1600" b="0" i="0" u="none" strike="noStrike" dirty="0">
                <a:solidFill>
                  <a:srgbClr val="595959"/>
                </a:solidFill>
                <a:effectLst/>
                <a:latin typeface="Lato" panose="020F0502020204030203" pitchFamily="34" charset="0"/>
              </a:rPr>
              <a:t>Paper “</a:t>
            </a:r>
            <a:r>
              <a:rPr lang="en-GB" sz="1600" b="1" i="0" u="none" strike="noStrike" dirty="0">
                <a:solidFill>
                  <a:srgbClr val="FF0000"/>
                </a:solidFill>
                <a:effectLst/>
                <a:latin typeface="Lato" panose="020F0502020204030203" pitchFamily="34" charset="0"/>
              </a:rPr>
              <a:t>Practical Anomaly Detection in Internet Services: An ISP centric approach</a:t>
            </a:r>
            <a:r>
              <a:rPr lang="en-GB" sz="1600" b="0" i="0" u="none" strike="noStrike" dirty="0">
                <a:solidFill>
                  <a:srgbClr val="595959"/>
                </a:solidFill>
                <a:effectLst/>
                <a:latin typeface="Lato" panose="020F0502020204030203" pitchFamily="34" charset="0"/>
              </a:rPr>
              <a:t>” </a:t>
            </a:r>
          </a:p>
          <a:p>
            <a:pPr algn="ctr" rtl="0">
              <a:spcBef>
                <a:spcPts val="0"/>
              </a:spcBef>
              <a:spcAft>
                <a:spcPts val="0"/>
              </a:spcAft>
            </a:pPr>
            <a:r>
              <a:rPr lang="en-GB" sz="1600" dirty="0">
                <a:solidFill>
                  <a:schemeClr val="bg2">
                    <a:lumMod val="75000"/>
                  </a:schemeClr>
                </a:solidFill>
              </a:rPr>
              <a:t>accepted at AnNet’24 </a:t>
            </a:r>
          </a:p>
          <a:p>
            <a:pPr algn="ctr" rtl="0">
              <a:spcBef>
                <a:spcPts val="0"/>
              </a:spcBef>
              <a:spcAft>
                <a:spcPts val="0"/>
              </a:spcAft>
            </a:pPr>
            <a:r>
              <a:rPr lang="en-GB" sz="1600" dirty="0">
                <a:solidFill>
                  <a:schemeClr val="bg2">
                    <a:lumMod val="75000"/>
                  </a:schemeClr>
                </a:solidFill>
              </a:rPr>
              <a:t>(in conjunction with IEEE NOMS’24) </a:t>
            </a:r>
          </a:p>
          <a:p>
            <a:pPr algn="ctr" rtl="0">
              <a:spcBef>
                <a:spcPts val="0"/>
              </a:spcBef>
              <a:spcAft>
                <a:spcPts val="0"/>
              </a:spcAft>
            </a:pPr>
            <a:r>
              <a:rPr lang="en-GB" sz="1600" dirty="0">
                <a:solidFill>
                  <a:schemeClr val="bg2">
                    <a:lumMod val="75000"/>
                  </a:schemeClr>
                </a:solidFill>
              </a:rPr>
              <a:t>Seoul, Korea (6–10 May 2024)</a:t>
            </a:r>
          </a:p>
          <a:p>
            <a:pPr algn="ctr" rtl="0">
              <a:spcBef>
                <a:spcPts val="0"/>
              </a:spcBef>
              <a:spcAft>
                <a:spcPts val="0"/>
              </a:spcAft>
            </a:pPr>
            <a:r>
              <a:rPr lang="en-GB" sz="1600" dirty="0">
                <a:solidFill>
                  <a:schemeClr val="bg2">
                    <a:lumMod val="75000"/>
                  </a:schemeClr>
                </a:solidFill>
              </a:rPr>
              <a:t>[Will be presented as a poster the May 6th 2024]</a:t>
            </a:r>
          </a:p>
        </p:txBody>
      </p:sp>
      <p:pic>
        <p:nvPicPr>
          <p:cNvPr id="2052" name="Picture 4">
            <a:extLst>
              <a:ext uri="{FF2B5EF4-FFF2-40B4-BE49-F238E27FC236}">
                <a16:creationId xmlns:a16="http://schemas.microsoft.com/office/drawing/2014/main" id="{7022990C-B30E-1C4B-DB2B-0970BB16BE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57375" y="2099749"/>
            <a:ext cx="4878686" cy="265850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41A4F91E-8E8C-E756-1039-D2CC2AC865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86136" y="1129326"/>
            <a:ext cx="3129641" cy="4040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37112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Monitoring L3 VPN's with IPFIX, BMP and YANG Push</a:t>
            </a:r>
            <a:br>
              <a:rPr lang="en-GB" sz="3600" dirty="0"/>
            </a:br>
            <a:r>
              <a:rPr lang="en-US" sz="2700" dirty="0">
                <a:solidFill>
                  <a:schemeClr val="bg2">
                    <a:lumMod val="75000"/>
                  </a:schemeClr>
                </a:solidFill>
              </a:rPr>
              <a:t>From Connectivity Service to Realtime Network Analytics</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5903843" y="1742858"/>
            <a:ext cx="5684049" cy="4788632"/>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lang="en-US" b="1" dirty="0">
                <a:solidFill>
                  <a:srgbClr val="FF0000"/>
                </a:solidFill>
                <a:latin typeface="TheSans Swisscom Light"/>
              </a:rPr>
              <a:t>Connectivity Service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perspective, </a:t>
            </a:r>
            <a:r>
              <a:rPr kumimoji="0" lang="en-US" sz="1600" i="0" u="none" strike="noStrike" kern="1200" cap="none" spc="0" normalizeH="0" baseline="0" noProof="0" dirty="0">
                <a:ln>
                  <a:noFill/>
                </a:ln>
                <a:solidFill>
                  <a:prstClr val="black"/>
                </a:solidFill>
                <a:effectLst/>
                <a:uLnTx/>
                <a:uFillTx/>
                <a:latin typeface="TheSans Swisscom Light"/>
                <a:ea typeface="+mn-ea"/>
                <a:cs typeface="+mn-cs"/>
              </a:rPr>
              <a:t>Connection Points are connected through Logical Connections.</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From a BGP control-plane perspective, </a:t>
            </a:r>
            <a:r>
              <a:rPr kumimoji="0" lang="en-US" sz="1600" i="0" u="none" strike="noStrike" kern="1200" cap="none" spc="0" normalizeH="0" baseline="0" noProof="0" dirty="0">
                <a:ln>
                  <a:noFill/>
                </a:ln>
                <a:solidFill>
                  <a:prstClr val="black"/>
                </a:solidFill>
                <a:effectLst/>
                <a:uLnTx/>
                <a:uFillTx/>
                <a:latin typeface="TheSans Swisscom Light"/>
                <a:ea typeface="+mn-ea"/>
                <a:cs typeface="+mn-cs"/>
              </a:rPr>
              <a:t>IPv4/6 unicast prefixes in VRF's are tagged with BGP standard communities. </a:t>
            </a:r>
          </a:p>
          <a:p>
            <a:pPr marL="362880" marR="0" lvl="1"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prstClr val="black"/>
                </a:solidFill>
                <a:effectLst/>
                <a:uLnTx/>
                <a:uFillTx/>
                <a:latin typeface="TheSans Swisscom Light"/>
                <a:ea typeface="+mn-ea"/>
                <a:cs typeface="+mn-cs"/>
              </a:rPr>
              <a:t>One BGP standard community to identify the Logical Connection. One BGP standard community to identify each Connection Point. </a:t>
            </a:r>
          </a:p>
          <a:p>
            <a:pPr marL="362880" marR="0" lvl="1"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effectLst/>
                <a:uLnTx/>
                <a:uFillTx/>
                <a:latin typeface="TheSans Swisscom Light"/>
                <a:ea typeface="+mn-ea"/>
                <a:cs typeface="+mn-cs"/>
              </a:rPr>
              <a:t>When IPv4/6 prefixes are exported from VRF's, a BGP route-distinguisher, BGP extended community route-targets and a SRv6 VPN SID for the IPv6 next-hop </a:t>
            </a:r>
            <a:r>
              <a:rPr lang="en-US" dirty="0">
                <a:latin typeface="TheSans Swisscom Light"/>
              </a:rPr>
              <a:t>are</a:t>
            </a:r>
            <a:r>
              <a:rPr kumimoji="0" lang="en-US" sz="1600" b="0" i="0" u="none" strike="noStrike" kern="1200" cap="none" spc="0" normalizeH="0" baseline="0" noProof="0" dirty="0">
                <a:ln>
                  <a:noFill/>
                </a:ln>
                <a:effectLst/>
                <a:uLnTx/>
                <a:uFillTx/>
                <a:latin typeface="TheSans Swisscom Light"/>
                <a:ea typeface="+mn-ea"/>
                <a:cs typeface="+mn-cs"/>
              </a:rPr>
              <a:t> allocated.</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From a forwarding plane perspective, </a:t>
            </a:r>
            <a:r>
              <a:rPr kumimoji="0" lang="en-US" sz="1600" i="0" u="none" strike="noStrike" kern="1200" cap="none" spc="0" normalizeH="0" baseline="0" noProof="0" dirty="0">
                <a:ln>
                  <a:noFill/>
                </a:ln>
                <a:effectLst/>
                <a:uLnTx/>
                <a:uFillTx/>
                <a:latin typeface="TheSans Swisscom Light"/>
                <a:ea typeface="+mn-ea"/>
                <a:cs typeface="+mn-cs"/>
              </a:rPr>
              <a:t>when IPv4/6 unicast traffic is received from the edge at the SRv6 PE, a lookup is performed, the SRv6 VPN SID is obtained and IPv6 next-hop is added when forwarded to the core.</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Swisscom collects </a:t>
            </a:r>
            <a:r>
              <a:rPr kumimoji="0" lang="en-US" sz="1600" i="0" u="none" strike="noStrike" kern="1200" cap="none" spc="0" normalizeH="0" baseline="0" noProof="0" dirty="0">
                <a:ln>
                  <a:noFill/>
                </a:ln>
                <a:effectLst/>
                <a:uLnTx/>
                <a:uFillTx/>
                <a:latin typeface="TheSans Swisscom Light"/>
                <a:ea typeface="+mn-ea"/>
                <a:cs typeface="+mn-cs"/>
              </a:rPr>
              <a:t>MPLS and SRv6 provider data plane, IPv4/6 unicast customer data-plane in IPFIX and at provider edge BGP VPNv4/6 unicast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in production </a:t>
            </a:r>
            <a:r>
              <a:rPr kumimoji="0" lang="en-US" sz="1600" i="0" u="none" strike="noStrike" kern="1200" cap="none" spc="0" normalizeH="0" baseline="0" noProof="0" dirty="0">
                <a:ln>
                  <a:noFill/>
                </a:ln>
                <a:effectLst/>
                <a:uLnTx/>
                <a:uFillTx/>
                <a:latin typeface="TheSans Swisscom Light"/>
                <a:ea typeface="+mn-ea"/>
                <a:cs typeface="+mn-cs"/>
              </a:rPr>
              <a:t>to perform real-time data correlation.</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9" name="Picture 18">
            <a:extLst>
              <a:ext uri="{FF2B5EF4-FFF2-40B4-BE49-F238E27FC236}">
                <a16:creationId xmlns:a16="http://schemas.microsoft.com/office/drawing/2014/main" id="{6C2E1AF7-54F3-0ED4-A99D-8EDF1964205C}"/>
              </a:ext>
            </a:extLst>
          </p:cNvPr>
          <p:cNvPicPr>
            <a:picLocks noChangeAspect="1"/>
          </p:cNvPicPr>
          <p:nvPr/>
        </p:nvPicPr>
        <p:blipFill>
          <a:blip r:embed="rId3"/>
          <a:stretch>
            <a:fillRect/>
          </a:stretch>
        </p:blipFill>
        <p:spPr>
          <a:xfrm>
            <a:off x="1017104" y="1695129"/>
            <a:ext cx="4710952" cy="4884090"/>
          </a:xfrm>
          <a:prstGeom prst="rect">
            <a:avLst/>
          </a:prstGeom>
        </p:spPr>
      </p:pic>
    </p:spTree>
    <p:extLst>
      <p:ext uri="{BB962C8B-B14F-4D97-AF65-F5344CB8AC3E}">
        <p14:creationId xmlns:p14="http://schemas.microsoft.com/office/powerpoint/2010/main" val="13024697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40</a:t>
            </a:fld>
            <a:endParaRPr lang="de-CH"/>
          </a:p>
        </p:txBody>
      </p:sp>
    </p:spTree>
    <p:extLst>
      <p:ext uri="{BB962C8B-B14F-4D97-AF65-F5344CB8AC3E}">
        <p14:creationId xmlns:p14="http://schemas.microsoft.com/office/powerpoint/2010/main" val="6707725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1</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2</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3</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pic>
        <p:nvPicPr>
          <p:cNvPr id="4" name="Picture 3">
            <a:extLst>
              <a:ext uri="{FF2B5EF4-FFF2-40B4-BE49-F238E27FC236}">
                <a16:creationId xmlns:a16="http://schemas.microsoft.com/office/drawing/2014/main" id="{7966EF60-4572-6C60-B040-DFC7E219032C}"/>
              </a:ext>
            </a:extLst>
          </p:cNvPr>
          <p:cNvPicPr>
            <a:picLocks noChangeAspect="1"/>
          </p:cNvPicPr>
          <p:nvPr/>
        </p:nvPicPr>
        <p:blipFill>
          <a:blip r:embed="rId3"/>
          <a:stretch>
            <a:fillRect/>
          </a:stretch>
        </p:blipFill>
        <p:spPr>
          <a:xfrm>
            <a:off x="932468" y="1500630"/>
            <a:ext cx="4106247" cy="5226132"/>
          </a:xfrm>
          <a:prstGeom prst="rect">
            <a:avLst/>
          </a:prstGeom>
        </p:spPr>
      </p:pic>
    </p:spTree>
    <p:extLst>
      <p:ext uri="{BB962C8B-B14F-4D97-AF65-F5344CB8AC3E}">
        <p14:creationId xmlns:p14="http://schemas.microsoft.com/office/powerpoint/2010/main" val="23476970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4</a:t>
            </a:fld>
            <a:endParaRPr lang="de-CH" sz="1400" dirty="0"/>
          </a:p>
        </p:txBody>
      </p:sp>
      <p:cxnSp>
        <p:nvCxnSpPr>
          <p:cNvPr id="7" name="Straight Arrow Connector 6">
            <a:extLst>
              <a:ext uri="{FF2B5EF4-FFF2-40B4-BE49-F238E27FC236}">
                <a16:creationId xmlns:a16="http://schemas.microsoft.com/office/drawing/2014/main" id="{83D1F104-0557-6EDA-760C-077B5A18DE98}"/>
              </a:ext>
            </a:extLst>
          </p:cNvPr>
          <p:cNvCxnSpPr>
            <a:cxnSpLocks/>
          </p:cNvCxnSpPr>
          <p:nvPr/>
        </p:nvCxnSpPr>
        <p:spPr>
          <a:xfrm>
            <a:off x="4823927" y="253792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9F78903-BA21-F9F1-17B7-8DE3FB96072C}"/>
              </a:ext>
            </a:extLst>
          </p:cNvPr>
          <p:cNvCxnSpPr>
            <a:cxnSpLocks/>
          </p:cNvCxnSpPr>
          <p:nvPr/>
        </p:nvCxnSpPr>
        <p:spPr>
          <a:xfrm>
            <a:off x="5956042" y="4351176"/>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D5E84-A66D-A11B-4F94-5E8AB181E3F5}"/>
              </a:ext>
            </a:extLst>
          </p:cNvPr>
          <p:cNvCxnSpPr>
            <a:cxnSpLocks/>
          </p:cNvCxnSpPr>
          <p:nvPr/>
        </p:nvCxnSpPr>
        <p:spPr>
          <a:xfrm>
            <a:off x="4823927" y="498876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03D64F1-8CC7-7EF0-8739-0387E0C463A0}"/>
              </a:ext>
            </a:extLst>
          </p:cNvPr>
          <p:cNvCxnSpPr>
            <a:cxnSpLocks/>
          </p:cNvCxnSpPr>
          <p:nvPr/>
        </p:nvCxnSpPr>
        <p:spPr>
          <a:xfrm>
            <a:off x="5956042" y="5632580"/>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55AE0AF-510C-910F-E4AC-8ADE75D1ED34}"/>
              </a:ext>
            </a:extLst>
          </p:cNvPr>
          <p:cNvCxnSpPr>
            <a:cxnSpLocks/>
          </p:cNvCxnSpPr>
          <p:nvPr/>
        </p:nvCxnSpPr>
        <p:spPr>
          <a:xfrm>
            <a:off x="5828524" y="6248400"/>
            <a:ext cx="2475721"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1CF2E6B-29BB-3B8F-A4FD-C8E8A73C2282}"/>
              </a:ext>
            </a:extLst>
          </p:cNvPr>
          <p:cNvSpPr txBox="1"/>
          <p:nvPr/>
        </p:nvSpPr>
        <p:spPr>
          <a:xfrm>
            <a:off x="8585849" y="629731"/>
            <a:ext cx="3209168" cy="5863144"/>
          </a:xfrm>
          <a:prstGeom prst="rect">
            <a:avLst/>
          </a:prstGeom>
          <a:noFill/>
        </p:spPr>
        <p:txBody>
          <a:bodyPr wrap="square">
            <a:spAutoFit/>
          </a:bodyPr>
          <a:lstStyle/>
          <a:p>
            <a:pPr algn="ctr"/>
            <a:r>
              <a:rPr lang="en-US" sz="2500" b="1" dirty="0">
                <a:latin typeface="+mj-lt"/>
              </a:rPr>
              <a:t>« </a:t>
            </a:r>
            <a:r>
              <a:rPr lang="en-US" sz="2500" dirty="0">
                <a:latin typeface="+mj-lt"/>
              </a:rPr>
              <a:t>Addressing those gaps are a prerequisite to enable an automated data processing chain as described in </a:t>
            </a:r>
            <a:r>
              <a:rPr lang="en-US" sz="2500" dirty="0">
                <a:latin typeface="+mj-lt"/>
                <a:hlinkClick r:id="rId9"/>
              </a:rPr>
              <a:t>draft-</a:t>
            </a:r>
            <a:r>
              <a:rPr lang="en-US" sz="2500" dirty="0" err="1">
                <a:latin typeface="+mj-lt"/>
                <a:hlinkClick r:id="rId9"/>
              </a:rPr>
              <a:t>ietf</a:t>
            </a:r>
            <a:r>
              <a:rPr lang="en-US" sz="2500" dirty="0">
                <a:latin typeface="+mj-lt"/>
                <a:hlinkClick r:id="rId9"/>
              </a:rPr>
              <a:t>-</a:t>
            </a:r>
            <a:r>
              <a:rPr lang="en-US" sz="2500" dirty="0" err="1">
                <a:latin typeface="+mj-lt"/>
                <a:hlinkClick r:id="rId9"/>
              </a:rPr>
              <a:t>nmop</a:t>
            </a:r>
            <a:r>
              <a:rPr lang="en-US" sz="2500" dirty="0">
                <a:latin typeface="+mj-lt"/>
                <a:hlinkClick r:id="rId9"/>
              </a:rPr>
              <a:t>-yang-message-broker-integration</a:t>
            </a:r>
            <a:r>
              <a:rPr lang="en-US" sz="2500" dirty="0">
                <a:latin typeface="+mj-lt"/>
              </a:rPr>
              <a:t>. </a:t>
            </a:r>
            <a:r>
              <a:rPr lang="en-US" sz="2500" b="1" dirty="0">
                <a:solidFill>
                  <a:srgbClr val="FF0000"/>
                </a:solidFill>
                <a:latin typeface="+mj-lt"/>
              </a:rPr>
              <a:t>Please consider to attend IETF 120 NMOP working group session on Friday 13:00 – 15:00 </a:t>
            </a:r>
          </a:p>
          <a:p>
            <a:pPr algn="ctr"/>
            <a:r>
              <a:rPr lang="en-US" sz="2500" b="1" dirty="0">
                <a:solidFill>
                  <a:srgbClr val="FF0000"/>
                </a:solidFill>
                <a:latin typeface="+mj-lt"/>
              </a:rPr>
              <a:t>or go onto the mailing list and contribute to the discussion. </a:t>
            </a:r>
            <a:r>
              <a:rPr lang="de-CH" sz="2500" b="1" dirty="0">
                <a:latin typeface="+mj-lt"/>
              </a:rPr>
              <a:t>»</a:t>
            </a:r>
            <a:endParaRPr lang="en-US" sz="2500" b="1" dirty="0">
              <a:latin typeface="+mj-lt"/>
            </a:endParaRPr>
          </a:p>
        </p:txBody>
      </p:sp>
      <p:cxnSp>
        <p:nvCxnSpPr>
          <p:cNvPr id="21" name="Straight Arrow Connector 20">
            <a:extLst>
              <a:ext uri="{FF2B5EF4-FFF2-40B4-BE49-F238E27FC236}">
                <a16:creationId xmlns:a16="http://schemas.microsoft.com/office/drawing/2014/main" id="{DCC108B7-3175-A51B-346A-B1C4613E8455}"/>
              </a:ext>
            </a:extLst>
          </p:cNvPr>
          <p:cNvCxnSpPr>
            <a:cxnSpLocks/>
          </p:cNvCxnSpPr>
          <p:nvPr/>
        </p:nvCxnSpPr>
        <p:spPr>
          <a:xfrm>
            <a:off x="4823927" y="3218228"/>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8639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Segment Routing IPv6 Encapsulation</a:t>
            </a:r>
            <a:br>
              <a:rPr lang="en-GB" sz="3600" dirty="0"/>
            </a:br>
            <a:r>
              <a:rPr lang="en-GB" sz="2700" dirty="0">
                <a:solidFill>
                  <a:schemeClr val="bg2">
                    <a:lumMod val="75000"/>
                  </a:schemeClr>
                </a:solidFill>
              </a:rPr>
              <a:t>RFC 9487 provides </a:t>
            </a:r>
            <a:r>
              <a:rPr lang="en-US" sz="2700" dirty="0">
                <a:solidFill>
                  <a:schemeClr val="bg2">
                    <a:lumMod val="75000"/>
                  </a:schemeClr>
                </a:solidFill>
              </a:rPr>
              <a:t>IPFIX Visibility</a:t>
            </a:r>
          </a:p>
        </p:txBody>
      </p:sp>
      <p:sp>
        <p:nvSpPr>
          <p:cNvPr id="14" name="Content Placeholder 1">
            <a:extLst>
              <a:ext uri="{FF2B5EF4-FFF2-40B4-BE49-F238E27FC236}">
                <a16:creationId xmlns:a16="http://schemas.microsoft.com/office/drawing/2014/main" id="{061AB46D-1699-0792-77A2-D3CC2D1CF48D}"/>
              </a:ext>
            </a:extLst>
          </p:cNvPr>
          <p:cNvSpPr txBox="1">
            <a:spLocks/>
          </p:cNvSpPr>
          <p:nvPr/>
        </p:nvSpPr>
        <p:spPr bwMode="black">
          <a:xfrm>
            <a:off x="838200" y="4799159"/>
            <a:ext cx="4667251" cy="17049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Custom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is </a:t>
            </a:r>
            <a:r>
              <a:rPr kumimoji="0" lang="en-US" sz="1800" b="0" i="0" u="none" strike="noStrike" kern="1200" cap="none" spc="0" normalizeH="0" baseline="0" noProof="0" dirty="0">
                <a:ln>
                  <a:noFill/>
                </a:ln>
                <a:solidFill>
                  <a:srgbClr val="00B050"/>
                </a:solidFill>
                <a:effectLst/>
                <a:uLnTx/>
                <a:uFillTx/>
                <a:latin typeface="TheSans Swisscom Light"/>
                <a:ea typeface="+mn-ea"/>
                <a:cs typeface="+mn-cs"/>
              </a:rPr>
              <a:t>what we receive from the customer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nd encapsulate for transport through the SRv6 core.</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 name="Picture 14">
            <a:extLst>
              <a:ext uri="{FF2B5EF4-FFF2-40B4-BE49-F238E27FC236}">
                <a16:creationId xmlns:a16="http://schemas.microsoft.com/office/drawing/2014/main" id="{FAACEFC0-66C1-C9D9-0909-DE37E6C1EF57}"/>
              </a:ext>
            </a:extLst>
          </p:cNvPr>
          <p:cNvPicPr>
            <a:picLocks noChangeAspect="1"/>
          </p:cNvPicPr>
          <p:nvPr/>
        </p:nvPicPr>
        <p:blipFill>
          <a:blip r:embed="rId3"/>
          <a:stretch>
            <a:fillRect/>
          </a:stretch>
        </p:blipFill>
        <p:spPr>
          <a:xfrm>
            <a:off x="6891723" y="928136"/>
            <a:ext cx="4462077" cy="5433501"/>
          </a:xfrm>
          <a:prstGeom prst="rect">
            <a:avLst/>
          </a:prstGeom>
        </p:spPr>
      </p:pic>
      <p:sp>
        <p:nvSpPr>
          <p:cNvPr id="16" name="Right Brace 15">
            <a:extLst>
              <a:ext uri="{FF2B5EF4-FFF2-40B4-BE49-F238E27FC236}">
                <a16:creationId xmlns:a16="http://schemas.microsoft.com/office/drawing/2014/main" id="{79B4FFDF-E5F1-40FB-2037-CE8ED4BD0C72}"/>
              </a:ext>
            </a:extLst>
          </p:cNvPr>
          <p:cNvSpPr/>
          <p:nvPr/>
        </p:nvSpPr>
        <p:spPr bwMode="gray">
          <a:xfrm rot="10800000">
            <a:off x="5907254" y="4646756"/>
            <a:ext cx="720219" cy="1704975"/>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7" name="Right Brace 16">
            <a:extLst>
              <a:ext uri="{FF2B5EF4-FFF2-40B4-BE49-F238E27FC236}">
                <a16:creationId xmlns:a16="http://schemas.microsoft.com/office/drawing/2014/main" id="{C76AD08B-1660-28DB-9512-23D1E4C51CFA}"/>
              </a:ext>
            </a:extLst>
          </p:cNvPr>
          <p:cNvSpPr/>
          <p:nvPr/>
        </p:nvSpPr>
        <p:spPr bwMode="gray">
          <a:xfrm rot="10800000">
            <a:off x="5897730" y="1751157"/>
            <a:ext cx="729744" cy="2800349"/>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9" name="Content Placeholder 1">
            <a:extLst>
              <a:ext uri="{FF2B5EF4-FFF2-40B4-BE49-F238E27FC236}">
                <a16:creationId xmlns:a16="http://schemas.microsoft.com/office/drawing/2014/main" id="{3835FDB6-BB7A-8E34-ECD7-5563A0795A13}"/>
              </a:ext>
            </a:extLst>
          </p:cNvPr>
          <p:cNvSpPr txBox="1">
            <a:spLocks/>
          </p:cNvSpPr>
          <p:nvPr/>
        </p:nvSpPr>
        <p:spPr bwMode="black">
          <a:xfrm>
            <a:off x="838200" y="1827357"/>
            <a:ext cx="4667251" cy="27241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Provid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Divided into an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IPv6</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Segment Routing Header</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t>
            </a: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e IPv6 header shows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from which PE to which next-hop</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it is being forwarded. The Segment Routing Header the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list of segments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packet needs to pass through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points to the active segment</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TheSans Swisscom Light"/>
              <a:ea typeface="+mn-ea"/>
              <a:cs typeface="+mn-cs"/>
            </a:endParaRPr>
          </a:p>
        </p:txBody>
      </p:sp>
      <p:sp>
        <p:nvSpPr>
          <p:cNvPr id="20" name="Rectangle 19">
            <a:extLst>
              <a:ext uri="{FF2B5EF4-FFF2-40B4-BE49-F238E27FC236}">
                <a16:creationId xmlns:a16="http://schemas.microsoft.com/office/drawing/2014/main" id="{C462A56D-0422-0D09-55F3-AC0CDA7714C2}"/>
              </a:ext>
            </a:extLst>
          </p:cNvPr>
          <p:cNvSpPr/>
          <p:nvPr/>
        </p:nvSpPr>
        <p:spPr bwMode="gray">
          <a:xfrm>
            <a:off x="7154244" y="2778908"/>
            <a:ext cx="1855381" cy="249865"/>
          </a:xfrm>
          <a:prstGeom prst="rect">
            <a:avLst/>
          </a:prstGeom>
          <a:solidFill>
            <a:srgbClr val="FF0000">
              <a:alpha val="20000"/>
            </a:srgbClr>
          </a:solidFill>
          <a:ln w="63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1" name="Rectangle 20">
            <a:extLst>
              <a:ext uri="{FF2B5EF4-FFF2-40B4-BE49-F238E27FC236}">
                <a16:creationId xmlns:a16="http://schemas.microsoft.com/office/drawing/2014/main" id="{A18F816A-FB3A-3B8C-2A6C-07B0126B25C7}"/>
              </a:ext>
            </a:extLst>
          </p:cNvPr>
          <p:cNvSpPr/>
          <p:nvPr/>
        </p:nvSpPr>
        <p:spPr bwMode="gray">
          <a:xfrm>
            <a:off x="7154244" y="4074308"/>
            <a:ext cx="1855381" cy="458972"/>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2" name="Rectangle 21">
            <a:extLst>
              <a:ext uri="{FF2B5EF4-FFF2-40B4-BE49-F238E27FC236}">
                <a16:creationId xmlns:a16="http://schemas.microsoft.com/office/drawing/2014/main" id="{D29C8F7E-483A-662C-C37C-2680716E4C91}"/>
              </a:ext>
            </a:extLst>
          </p:cNvPr>
          <p:cNvSpPr/>
          <p:nvPr/>
        </p:nvSpPr>
        <p:spPr bwMode="gray">
          <a:xfrm>
            <a:off x="7154243" y="3602931"/>
            <a:ext cx="1855381" cy="138224"/>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3" name="Rectangle 22">
            <a:extLst>
              <a:ext uri="{FF2B5EF4-FFF2-40B4-BE49-F238E27FC236}">
                <a16:creationId xmlns:a16="http://schemas.microsoft.com/office/drawing/2014/main" id="{B2E6FABB-38F9-750D-A0EF-6DF77AD9E253}"/>
              </a:ext>
            </a:extLst>
          </p:cNvPr>
          <p:cNvSpPr/>
          <p:nvPr/>
        </p:nvSpPr>
        <p:spPr bwMode="gray">
          <a:xfrm>
            <a:off x="7154242" y="5912466"/>
            <a:ext cx="1855381" cy="249865"/>
          </a:xfrm>
          <a:prstGeom prst="rect">
            <a:avLst/>
          </a:prstGeom>
          <a:solidFill>
            <a:srgbClr val="00B050">
              <a:alpha val="20000"/>
            </a:srgbClr>
          </a:solid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293169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FC126C39-D90A-9A11-0A55-D53DA1364FD9}"/>
              </a:ext>
            </a:extLst>
          </p:cNvPr>
          <p:cNvPicPr>
            <a:picLocks noChangeAspect="1"/>
          </p:cNvPicPr>
          <p:nvPr/>
        </p:nvPicPr>
        <p:blipFill>
          <a:blip r:embed="rId3"/>
          <a:stretch>
            <a:fillRect/>
          </a:stretch>
        </p:blipFill>
        <p:spPr>
          <a:xfrm>
            <a:off x="6867072" y="216461"/>
            <a:ext cx="5193228" cy="6510301"/>
          </a:xfrm>
          <a:prstGeom prst="rect">
            <a:avLst/>
          </a:prstGeom>
        </p:spPr>
      </p:pic>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BMP – Address Family Agnostic</a:t>
            </a:r>
            <a:br>
              <a:rPr lang="en-GB" sz="3600" dirty="0"/>
            </a:br>
            <a:r>
              <a:rPr lang="en-GB" sz="2700" dirty="0">
                <a:solidFill>
                  <a:schemeClr val="bg2">
                    <a:lumMod val="75000"/>
                  </a:schemeClr>
                </a:solidFill>
              </a:rPr>
              <a:t>RFC 9069 provides Local RIB Visibility</a:t>
            </a:r>
            <a:endParaRPr lang="en-US" sz="2700" dirty="0">
              <a:solidFill>
                <a:schemeClr val="bg2">
                  <a:lumMod val="75000"/>
                </a:schemeClr>
              </a:solidFill>
            </a:endParaRPr>
          </a:p>
        </p:txBody>
      </p:sp>
      <p:sp>
        <p:nvSpPr>
          <p:cNvPr id="14" name="Content Placeholder 1">
            <a:extLst>
              <a:ext uri="{FF2B5EF4-FFF2-40B4-BE49-F238E27FC236}">
                <a16:creationId xmlns:a16="http://schemas.microsoft.com/office/drawing/2014/main" id="{061AB46D-1699-0792-77A2-D3CC2D1CF48D}"/>
              </a:ext>
            </a:extLst>
          </p:cNvPr>
          <p:cNvSpPr txBox="1">
            <a:spLocks/>
          </p:cNvSpPr>
          <p:nvPr/>
        </p:nvSpPr>
        <p:spPr bwMode="black">
          <a:xfrm>
            <a:off x="838200" y="3857625"/>
            <a:ext cx="4667251" cy="264650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lang="en-US" sz="2400" b="1" dirty="0">
                <a:solidFill>
                  <a:prstClr val="black"/>
                </a:solidFill>
                <a:latin typeface="TheSans Swisscom Light"/>
              </a:rPr>
              <a:t>Encapsulated BGP PDU</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Shows the encapsulated BGP PDU. In case of BMP route-monitoring, it describes whether it was a topology </a:t>
            </a:r>
            <a:r>
              <a:rPr kumimoji="0" lang="en-US" sz="1800" b="0" i="0" u="none" strike="noStrike" kern="1200" cap="none" spc="0" normalizeH="0" baseline="0" noProof="0" dirty="0">
                <a:ln>
                  <a:noFill/>
                </a:ln>
                <a:solidFill>
                  <a:schemeClr val="accent5"/>
                </a:solidFill>
                <a:effectLst/>
                <a:uLnTx/>
                <a:uFillTx/>
                <a:latin typeface="TheSans Swisscom Light"/>
                <a:ea typeface="+mn-ea"/>
                <a:cs typeface="+mn-cs"/>
              </a:rPr>
              <a:t>update or withdrawal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nd for </a:t>
            </a:r>
            <a:r>
              <a:rPr kumimoji="0" lang="en-US" sz="1800" b="0" i="0" u="none" strike="noStrike" kern="1200" cap="none" spc="0" normalizeH="0" baseline="0" noProof="0" dirty="0">
                <a:ln>
                  <a:noFill/>
                </a:ln>
                <a:solidFill>
                  <a:srgbClr val="7030A0"/>
                </a:solidFill>
                <a:effectLst/>
                <a:uLnTx/>
                <a:uFillTx/>
                <a:latin typeface="TheSans Swisscom Light"/>
                <a:ea typeface="+mn-ea"/>
                <a:cs typeface="+mn-cs"/>
              </a:rPr>
              <a:t>BGP community, NLRI and BGP Prefix SID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path attributes.</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Right Brace 15">
            <a:extLst>
              <a:ext uri="{FF2B5EF4-FFF2-40B4-BE49-F238E27FC236}">
                <a16:creationId xmlns:a16="http://schemas.microsoft.com/office/drawing/2014/main" id="{79B4FFDF-E5F1-40FB-2037-CE8ED4BD0C72}"/>
              </a:ext>
            </a:extLst>
          </p:cNvPr>
          <p:cNvSpPr/>
          <p:nvPr/>
        </p:nvSpPr>
        <p:spPr bwMode="gray">
          <a:xfrm rot="10800000">
            <a:off x="6137327" y="2619122"/>
            <a:ext cx="720219" cy="4107639"/>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7" name="Right Brace 16">
            <a:extLst>
              <a:ext uri="{FF2B5EF4-FFF2-40B4-BE49-F238E27FC236}">
                <a16:creationId xmlns:a16="http://schemas.microsoft.com/office/drawing/2014/main" id="{C76AD08B-1660-28DB-9512-23D1E4C51CFA}"/>
              </a:ext>
            </a:extLst>
          </p:cNvPr>
          <p:cNvSpPr/>
          <p:nvPr/>
        </p:nvSpPr>
        <p:spPr bwMode="gray">
          <a:xfrm rot="10800000">
            <a:off x="6137328" y="1490878"/>
            <a:ext cx="729744" cy="973648"/>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9" name="Content Placeholder 1">
            <a:extLst>
              <a:ext uri="{FF2B5EF4-FFF2-40B4-BE49-F238E27FC236}">
                <a16:creationId xmlns:a16="http://schemas.microsoft.com/office/drawing/2014/main" id="{3835FDB6-BB7A-8E34-ECD7-5563A0795A13}"/>
              </a:ext>
            </a:extLst>
          </p:cNvPr>
          <p:cNvSpPr txBox="1">
            <a:spLocks/>
          </p:cNvSpPr>
          <p:nvPr/>
        </p:nvSpPr>
        <p:spPr bwMode="black">
          <a:xfrm>
            <a:off x="838200" y="1827358"/>
            <a:ext cx="4667251" cy="170497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BMP Per Peer Header</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Shows at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which RIB</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dj-RIB In, Local or Adj-RIB Out, Pre or Post Policy) </a:t>
            </a:r>
            <a:r>
              <a:rPr kumimoji="0" lang="en-US" sz="1800" b="0" i="0" u="none" strike="noStrike" kern="1200" cap="none" spc="0" normalizeH="0" baseline="0" noProof="0" dirty="0">
                <a:ln>
                  <a:noFill/>
                </a:ln>
                <a:effectLst/>
                <a:uLnTx/>
                <a:uFillTx/>
                <a:latin typeface="TheSans Swisscom Light"/>
                <a:ea typeface="+mn-ea"/>
                <a:cs typeface="+mn-cs"/>
              </a:rPr>
              <a:t>and from </a:t>
            </a:r>
            <a:r>
              <a:rPr kumimoji="0" lang="en-US" sz="1800" b="0" i="0" u="none" strike="noStrike" kern="1200" cap="none" spc="0" normalizeH="0" baseline="0" noProof="0" dirty="0">
                <a:ln>
                  <a:noFill/>
                </a:ln>
                <a:solidFill>
                  <a:schemeClr val="accent4"/>
                </a:solidFill>
                <a:effectLst/>
                <a:uLnTx/>
                <a:uFillTx/>
                <a:latin typeface="TheSans Swisscom Light"/>
                <a:ea typeface="+mn-ea"/>
                <a:cs typeface="+mn-cs"/>
              </a:rPr>
              <a:t>which Peering</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 </a:t>
            </a:r>
            <a:r>
              <a:rPr kumimoji="0" lang="en-US" sz="1800" b="0" i="0" u="none" strike="noStrike" kern="1200" cap="none" spc="0" normalizeH="0" baseline="0" noProof="0" dirty="0">
                <a:ln>
                  <a:noFill/>
                </a:ln>
                <a:effectLst/>
                <a:uLnTx/>
                <a:uFillTx/>
                <a:latin typeface="TheSans Swisscom Light"/>
                <a:ea typeface="+mn-ea"/>
                <a:cs typeface="+mn-cs"/>
              </a:rPr>
              <a:t>the BGP PDU at </a:t>
            </a:r>
            <a:r>
              <a:rPr kumimoji="0" lang="en-US" sz="1800" b="0" i="0" u="none" strike="noStrike" kern="1200" cap="none" spc="0" normalizeH="0" baseline="0" noProof="0" dirty="0">
                <a:ln>
                  <a:noFill/>
                </a:ln>
                <a:solidFill>
                  <a:schemeClr val="accent2"/>
                </a:solidFill>
                <a:effectLst/>
                <a:uLnTx/>
                <a:uFillTx/>
                <a:latin typeface="TheSans Swisscom Light"/>
                <a:ea typeface="+mn-ea"/>
                <a:cs typeface="+mn-cs"/>
              </a:rPr>
              <a:t>which time </a:t>
            </a:r>
            <a:r>
              <a:rPr kumimoji="0" lang="en-US" sz="1800" b="0" i="0" u="none" strike="noStrike" kern="1200" cap="none" spc="0" normalizeH="0" baseline="0" noProof="0" dirty="0">
                <a:ln>
                  <a:noFill/>
                </a:ln>
                <a:effectLst/>
                <a:uLnTx/>
                <a:uFillTx/>
                <a:latin typeface="TheSans Swisscom Light"/>
                <a:ea typeface="+mn-ea"/>
                <a:cs typeface="+mn-cs"/>
              </a:rPr>
              <a:t>was obtained.</a:t>
            </a:r>
            <a:endParaRPr kumimoji="0" lang="en-US" sz="1700" b="0" i="0" u="none" strike="noStrike" kern="1200" cap="none" spc="0" normalizeH="0" baseline="0" noProof="0" dirty="0">
              <a:ln>
                <a:noFill/>
              </a:ln>
              <a:effectLst/>
              <a:uLnTx/>
              <a:uFillTx/>
              <a:latin typeface="TheSans Swisscom Light"/>
              <a:ea typeface="+mn-ea"/>
              <a:cs typeface="+mn-cs"/>
            </a:endParaRPr>
          </a:p>
        </p:txBody>
      </p:sp>
      <p:sp>
        <p:nvSpPr>
          <p:cNvPr id="20" name="Rectangle 19">
            <a:extLst>
              <a:ext uri="{FF2B5EF4-FFF2-40B4-BE49-F238E27FC236}">
                <a16:creationId xmlns:a16="http://schemas.microsoft.com/office/drawing/2014/main" id="{C462A56D-0422-0D09-55F3-AC0CDA7714C2}"/>
              </a:ext>
            </a:extLst>
          </p:cNvPr>
          <p:cNvSpPr/>
          <p:nvPr/>
        </p:nvSpPr>
        <p:spPr bwMode="gray">
          <a:xfrm>
            <a:off x="7117186" y="1565755"/>
            <a:ext cx="1855381" cy="124933"/>
          </a:xfrm>
          <a:prstGeom prst="rect">
            <a:avLst/>
          </a:prstGeom>
          <a:solidFill>
            <a:srgbClr val="FF0000">
              <a:alpha val="20000"/>
            </a:srgbClr>
          </a:solidFill>
          <a:ln w="63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1" name="Rectangle 20">
            <a:extLst>
              <a:ext uri="{FF2B5EF4-FFF2-40B4-BE49-F238E27FC236}">
                <a16:creationId xmlns:a16="http://schemas.microsoft.com/office/drawing/2014/main" id="{A18F816A-FB3A-3B8C-2A6C-07B0126B25C7}"/>
              </a:ext>
            </a:extLst>
          </p:cNvPr>
          <p:cNvSpPr/>
          <p:nvPr/>
        </p:nvSpPr>
        <p:spPr bwMode="gray">
          <a:xfrm>
            <a:off x="7117187" y="3113118"/>
            <a:ext cx="3096071" cy="942687"/>
          </a:xfrm>
          <a:prstGeom prst="rect">
            <a:avLst/>
          </a:prstGeom>
          <a:solidFill>
            <a:srgbClr val="7030A0">
              <a:alpha val="20000"/>
            </a:srgbClr>
          </a:solidFill>
          <a:ln w="6350" cap="flat" cmpd="sng" algn="ctr">
            <a:solidFill>
              <a:srgbClr val="7030A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2" name="Rectangle 21">
            <a:extLst>
              <a:ext uri="{FF2B5EF4-FFF2-40B4-BE49-F238E27FC236}">
                <a16:creationId xmlns:a16="http://schemas.microsoft.com/office/drawing/2014/main" id="{D29C8F7E-483A-662C-C37C-2680716E4C91}"/>
              </a:ext>
            </a:extLst>
          </p:cNvPr>
          <p:cNvSpPr/>
          <p:nvPr/>
        </p:nvSpPr>
        <p:spPr bwMode="gray">
          <a:xfrm>
            <a:off x="7122287" y="2797448"/>
            <a:ext cx="1855381" cy="138224"/>
          </a:xfrm>
          <a:prstGeom prst="rect">
            <a:avLst/>
          </a:prstGeom>
          <a:solidFill>
            <a:schemeClr val="accent5">
              <a:alpha val="20000"/>
            </a:schemeClr>
          </a:solidFill>
          <a:ln w="635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5" name="Rectangle 24">
            <a:extLst>
              <a:ext uri="{FF2B5EF4-FFF2-40B4-BE49-F238E27FC236}">
                <a16:creationId xmlns:a16="http://schemas.microsoft.com/office/drawing/2014/main" id="{61D4DA13-7FF9-94CB-700A-3FEA4C71A008}"/>
              </a:ext>
            </a:extLst>
          </p:cNvPr>
          <p:cNvSpPr/>
          <p:nvPr/>
        </p:nvSpPr>
        <p:spPr bwMode="gray">
          <a:xfrm>
            <a:off x="7117186" y="1961535"/>
            <a:ext cx="1855380" cy="333304"/>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algn="ctr">
              <a:lnSpc>
                <a:spcPct val="110000"/>
              </a:lnSpc>
            </a:pPr>
            <a:endParaRPr lang="de-CH" sz="1600" kern="0" dirty="0">
              <a:solidFill>
                <a:srgbClr val="333333"/>
              </a:solidFill>
              <a:latin typeface="TheSans Swisscom Light"/>
            </a:endParaRPr>
          </a:p>
        </p:txBody>
      </p:sp>
      <p:sp>
        <p:nvSpPr>
          <p:cNvPr id="26" name="Rectangle 25">
            <a:extLst>
              <a:ext uri="{FF2B5EF4-FFF2-40B4-BE49-F238E27FC236}">
                <a16:creationId xmlns:a16="http://schemas.microsoft.com/office/drawing/2014/main" id="{CEEB91E4-87B4-CC7F-4F7E-459295866544}"/>
              </a:ext>
            </a:extLst>
          </p:cNvPr>
          <p:cNvSpPr/>
          <p:nvPr/>
        </p:nvSpPr>
        <p:spPr bwMode="gray">
          <a:xfrm>
            <a:off x="7117186" y="2315081"/>
            <a:ext cx="1855380" cy="193885"/>
          </a:xfrm>
          <a:prstGeom prst="rect">
            <a:avLst/>
          </a:prstGeom>
          <a:solidFill>
            <a:schemeClr val="accent2">
              <a:alpha val="20000"/>
            </a:schemeClr>
          </a:solidFill>
          <a:ln w="635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8" name="Rectangle 27">
            <a:extLst>
              <a:ext uri="{FF2B5EF4-FFF2-40B4-BE49-F238E27FC236}">
                <a16:creationId xmlns:a16="http://schemas.microsoft.com/office/drawing/2014/main" id="{4FEE1E2A-FB17-E715-50E0-892BA1CEBF26}"/>
              </a:ext>
            </a:extLst>
          </p:cNvPr>
          <p:cNvSpPr/>
          <p:nvPr/>
        </p:nvSpPr>
        <p:spPr bwMode="gray">
          <a:xfrm>
            <a:off x="7122287" y="2499103"/>
            <a:ext cx="1855381" cy="138224"/>
          </a:xfrm>
          <a:prstGeom prst="rect">
            <a:avLst/>
          </a:prstGeom>
          <a:solidFill>
            <a:srgbClr val="00B050">
              <a:alpha val="20000"/>
            </a:srgbClr>
          </a:solidFill>
          <a:ln w="6350" cap="flat" cmpd="sng" algn="ctr">
            <a:solidFill>
              <a:srgbClr val="00B050"/>
            </a:solidFill>
            <a:prstDash val="solid"/>
            <a:miter lim="800000"/>
          </a:ln>
          <a:effectLst/>
        </p:spPr>
        <p:txBody>
          <a:bodyPr rtlCol="0" anchor="ctr"/>
          <a:lstStyle/>
          <a:p>
            <a:pPr algn="ctr">
              <a:lnSpc>
                <a:spcPct val="110000"/>
              </a:lnSpc>
            </a:pPr>
            <a:endParaRPr lang="de-CH" sz="1600" kern="0" dirty="0">
              <a:solidFill>
                <a:srgbClr val="333333"/>
              </a:solidFill>
              <a:latin typeface="TheSans Swisscom Light"/>
            </a:endParaRPr>
          </a:p>
        </p:txBody>
      </p:sp>
    </p:spTree>
    <p:extLst>
      <p:ext uri="{BB962C8B-B14F-4D97-AF65-F5344CB8AC3E}">
        <p14:creationId xmlns:p14="http://schemas.microsoft.com/office/powerpoint/2010/main" val="791412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Measure On-Path Delay with Network Context</a:t>
            </a:r>
            <a:br>
              <a:rPr lang="en-GB" sz="3600" dirty="0"/>
            </a:br>
            <a:r>
              <a:rPr lang="en-GB" sz="2700" dirty="0">
                <a:solidFill>
                  <a:schemeClr val="bg2">
                    <a:lumMod val="75000"/>
                  </a:schemeClr>
                </a:solidFill>
              </a:rPr>
              <a:t>W</a:t>
            </a:r>
            <a:r>
              <a:rPr lang="en-US" sz="2700" dirty="0" err="1">
                <a:solidFill>
                  <a:schemeClr val="bg2">
                    <a:lumMod val="75000"/>
                  </a:schemeClr>
                </a:solidFill>
              </a:rPr>
              <a:t>ith</a:t>
            </a:r>
            <a:r>
              <a:rPr lang="en-US" sz="2700" dirty="0">
                <a:solidFill>
                  <a:schemeClr val="bg2">
                    <a:lumMod val="75000"/>
                  </a:schemeClr>
                </a:solidFill>
              </a:rPr>
              <a:t> draft-</a:t>
            </a:r>
            <a:r>
              <a:rPr lang="en-US" sz="2700" dirty="0" err="1">
                <a:solidFill>
                  <a:schemeClr val="bg2">
                    <a:lumMod val="75000"/>
                  </a:schemeClr>
                </a:solidFill>
              </a:rPr>
              <a:t>ietf</a:t>
            </a:r>
            <a:r>
              <a:rPr lang="en-US" sz="2700" dirty="0">
                <a:solidFill>
                  <a:schemeClr val="bg2">
                    <a:lumMod val="75000"/>
                  </a:schemeClr>
                </a:solidFill>
              </a:rPr>
              <a:t>-opsawg-</a:t>
            </a:r>
            <a:r>
              <a:rPr lang="en-US" sz="2700" dirty="0" err="1">
                <a:solidFill>
                  <a:schemeClr val="bg2">
                    <a:lumMod val="75000"/>
                  </a:schemeClr>
                </a:solidFill>
              </a:rPr>
              <a:t>ipfix</a:t>
            </a:r>
            <a:r>
              <a:rPr lang="en-US" sz="2700" dirty="0">
                <a:solidFill>
                  <a:schemeClr val="bg2">
                    <a:lumMod val="75000"/>
                  </a:schemeClr>
                </a:solidFill>
              </a:rPr>
              <a:t>-on-path-telemetry</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5626745" y="1872682"/>
            <a:ext cx="6244869" cy="467151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Packets are </a:t>
            </a:r>
            <a:r>
              <a:rPr lang="en-US" b="1" dirty="0">
                <a:solidFill>
                  <a:srgbClr val="FF0000"/>
                </a:solidFill>
                <a:latin typeface="TheSans Swisscom Light"/>
              </a:rPr>
              <a:t>captur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ingress with an </a:t>
            </a:r>
            <a:r>
              <a:rPr lang="en-US" b="1" dirty="0">
                <a:solidFill>
                  <a:srgbClr val="FF0000"/>
                </a:solidFill>
                <a:latin typeface="TheSans Swisscom Light"/>
              </a:rPr>
              <a:t>optional sampler</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data plane dimensions </a:t>
            </a:r>
            <a:r>
              <a:rPr lang="en-US" b="1" dirty="0">
                <a:solidFill>
                  <a:srgbClr val="FF0000"/>
                </a:solidFill>
                <a:latin typeface="TheSans Swisscom Light"/>
              </a:rPr>
              <a:t>extract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a:t>
            </a:r>
            <a:r>
              <a:rPr lang="en-US" b="1" dirty="0">
                <a:solidFill>
                  <a:srgbClr val="FF0000"/>
                </a:solidFill>
                <a:latin typeface="TheSans Swisscom Light"/>
              </a:rPr>
              <a:t>enrich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with management and control plane dimensions and </a:t>
            </a:r>
            <a:r>
              <a:rPr kumimoji="0" lang="en-US" sz="1600" i="0" u="none" strike="noStrike" kern="1200" cap="none" spc="0" normalizeH="0" baseline="0" noProof="0" dirty="0">
                <a:ln>
                  <a:noFill/>
                </a:ln>
                <a:solidFill>
                  <a:srgbClr val="333333"/>
                </a:solidFill>
                <a:effectLst/>
                <a:uLnTx/>
                <a:uFillTx/>
                <a:latin typeface="TheSans Swisscom Light"/>
                <a:ea typeface="+mn-ea"/>
                <a:cs typeface="+mn-cs"/>
              </a:rPr>
              <a:t>added with a unique </a:t>
            </a:r>
            <a:r>
              <a:rPr lang="en-US" b="1" dirty="0">
                <a:solidFill>
                  <a:srgbClr val="FF0000"/>
                </a:solidFill>
                <a:latin typeface="TheSans Swisscom Light"/>
              </a:rPr>
              <a:t>flow ID </a:t>
            </a:r>
            <a:r>
              <a:rPr kumimoji="0" lang="en-US" sz="1600" i="0" u="none" strike="noStrike" kern="1200" cap="none" spc="0" normalizeH="0" baseline="0" noProof="0" dirty="0">
                <a:ln>
                  <a:noFill/>
                </a:ln>
                <a:solidFill>
                  <a:srgbClr val="333333"/>
                </a:solidFill>
                <a:effectLst/>
                <a:uLnTx/>
                <a:uFillTx/>
                <a:latin typeface="TheSans Swisscom Light"/>
                <a:ea typeface="+mn-ea"/>
                <a:cs typeface="+mn-cs"/>
              </a:rPr>
              <a:t>to a flow cache on the node for aggregation.</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lang="de-CH" b="1" dirty="0">
                <a:solidFill>
                  <a:srgbClr val="FF0000"/>
                </a:solidFill>
                <a:latin typeface="TheSans Swisscom Light"/>
              </a:rPr>
              <a:t>A </a:t>
            </a:r>
            <a:r>
              <a:rPr lang="en-US" b="1" dirty="0">
                <a:solidFill>
                  <a:srgbClr val="FF0000"/>
                </a:solidFill>
                <a:latin typeface="TheSans Swisscom Light"/>
              </a:rPr>
              <a:t>direct export marking bit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and optionally a timestamp is added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to the packet when entering the OAM domain by leveraging Enhanced Alternate Marking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3"/>
              </a:rPr>
              <a:t>RFC 9341</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4"/>
              </a:rPr>
              <a:t>draft-zhou-ippm-enhanced-alternate-marking</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or IOAM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5"/>
              </a:rPr>
              <a:t>RFC 9378</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Direct Export or E2E Option Type.</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Each subsequent packet for the same flow increases byte and packet count. Each new flow creates a new flow ID in the flow cache.</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At each node </a:t>
            </a:r>
            <a:r>
              <a:rPr kumimoji="0" lang="en-US" sz="1600" i="0" u="none" strike="noStrike" kern="1200" cap="none" spc="0" normalizeH="0" baseline="0" noProof="0" dirty="0">
                <a:ln>
                  <a:noFill/>
                </a:ln>
                <a:effectLst/>
                <a:uLnTx/>
                <a:uFillTx/>
                <a:latin typeface="TheSans Swisscom Light"/>
                <a:ea typeface="+mn-ea"/>
                <a:cs typeface="+mn-cs"/>
              </a:rPr>
              <a:t>in transit or only at the decapsulation node,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delay is calculated </a:t>
            </a:r>
            <a:r>
              <a:rPr kumimoji="0" lang="en-US" sz="1600" i="0" u="none" strike="noStrike" kern="1200" cap="none" spc="0" normalizeH="0" baseline="0" noProof="0" dirty="0">
                <a:ln>
                  <a:noFill/>
                </a:ln>
                <a:effectLst/>
                <a:uLnTx/>
                <a:uFillTx/>
                <a:latin typeface="TheSans Swisscom Light"/>
                <a:ea typeface="+mn-ea"/>
                <a:cs typeface="+mn-cs"/>
              </a:rPr>
              <a:t>by comparing the observation timestamp in the packet and when packet is received. </a:t>
            </a:r>
            <a:r>
              <a:rPr lang="en-US" b="1" dirty="0">
                <a:solidFill>
                  <a:srgbClr val="FF0000"/>
                </a:solidFill>
                <a:latin typeface="TheSans Swisscom Light"/>
              </a:rPr>
              <a:t>Delay is populated into the flow cache together with packet and byte count </a:t>
            </a:r>
            <a:r>
              <a:rPr kumimoji="0" lang="en-US" sz="1600" i="0" u="none" strike="noStrike" kern="1200" cap="none" spc="0" normalizeH="0" baseline="0" noProof="0" dirty="0">
                <a:ln>
                  <a:noFill/>
                </a:ln>
                <a:effectLst/>
                <a:uLnTx/>
                <a:uFillTx/>
                <a:latin typeface="TheSans Swisscom Light"/>
                <a:ea typeface="+mn-ea"/>
                <a:cs typeface="+mn-cs"/>
              </a:rPr>
              <a:t>as defined in </a:t>
            </a:r>
            <a:r>
              <a:rPr kumimoji="0" lang="en-US" sz="1600" i="0" u="none" strike="noStrike" kern="1200" cap="none" spc="0" normalizeH="0" baseline="0" noProof="0" dirty="0">
                <a:ln>
                  <a:noFill/>
                </a:ln>
                <a:effectLst/>
                <a:uLnTx/>
                <a:uFillTx/>
                <a:latin typeface="TheSans Swisscom Light"/>
                <a:ea typeface="+mn-ea"/>
                <a:cs typeface="+mn-cs"/>
                <a:hlinkClick r:id="rId6"/>
              </a:rPr>
              <a:t>draft-ietf-opsawg-ipfix-on-path-telemetry</a:t>
            </a:r>
            <a:r>
              <a:rPr kumimoji="0" lang="en-US" sz="1600" i="0" u="none" strike="noStrike" kern="1200" cap="none" spc="0" normalizeH="0" baseline="0" noProof="0" dirty="0">
                <a:ln>
                  <a:noFill/>
                </a:ln>
                <a:effectLst/>
                <a:uLnTx/>
                <a:uFillTx/>
                <a:latin typeface="TheSans Swisscom Light"/>
                <a:ea typeface="+mn-ea"/>
                <a:cs typeface="+mn-cs"/>
              </a:rPr>
              <a:t>.</a:t>
            </a:r>
          </a:p>
        </p:txBody>
      </p:sp>
      <p:pic>
        <p:nvPicPr>
          <p:cNvPr id="2" name="Picture 1">
            <a:extLst>
              <a:ext uri="{FF2B5EF4-FFF2-40B4-BE49-F238E27FC236}">
                <a16:creationId xmlns:a16="http://schemas.microsoft.com/office/drawing/2014/main" id="{D8F05C78-4E6C-08A8-5CCA-C61D7C9EFA6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93910" y="1690688"/>
            <a:ext cx="4959310" cy="4758934"/>
          </a:xfrm>
          <a:prstGeom prst="rect">
            <a:avLst/>
          </a:prstGeom>
        </p:spPr>
      </p:pic>
    </p:spTree>
    <p:extLst>
      <p:ext uri="{BB962C8B-B14F-4D97-AF65-F5344CB8AC3E}">
        <p14:creationId xmlns:p14="http://schemas.microsoft.com/office/powerpoint/2010/main" val="31374029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IPFIX provides statistical data plane visibility</a:t>
            </a:r>
            <a:br>
              <a:rPr lang="en-GB" sz="3600" dirty="0"/>
            </a:br>
            <a:r>
              <a:rPr lang="en-US" sz="2700" dirty="0">
                <a:solidFill>
                  <a:schemeClr val="bg2">
                    <a:lumMod val="75000"/>
                  </a:schemeClr>
                </a:solidFill>
              </a:rPr>
              <a:t>Comprehensive IPv6 data plane coverage</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2524125" y="4381500"/>
            <a:ext cx="4571999" cy="185471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3"/>
              </a:rPr>
              <a:t>ietf</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opsawg-</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3"/>
              </a:rPr>
              <a:t>ipfix</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on-path-telemetry</a:t>
            </a: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 defines OAM agnostic on-path delay IPFIX entities.</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4"/>
              </a:rPr>
              <a:t>ietf</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opsawg-</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4"/>
              </a:rPr>
              <a:t>ipfix</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alt-mark</a:t>
            </a:r>
            <a:r>
              <a:rPr kumimoji="0" lang="en-US" sz="1500" i="0" u="none" strike="noStrike" kern="1200" cap="none" spc="0" normalizeH="0" baseline="0" noProof="0" dirty="0">
                <a:ln>
                  <a:noFill/>
                </a:ln>
                <a:solidFill>
                  <a:srgbClr val="333333"/>
                </a:solidFill>
                <a:effectLst/>
                <a:uLnTx/>
                <a:uFillTx/>
                <a:latin typeface="TheSans Swisscom Light"/>
                <a:ea typeface="+mn-ea"/>
                <a:cs typeface="+mn-cs"/>
              </a:rPr>
              <a:t> defines Alternate Marking IPFIX entities.</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spiegel</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ippm-</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ioam</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rawexport</a:t>
            </a:r>
            <a:r>
              <a:rPr lang="en-US" sz="1500" dirty="0">
                <a:solidFill>
                  <a:srgbClr val="333333"/>
                </a:solidFill>
                <a:latin typeface="TheSans Swisscom Light"/>
              </a:rPr>
              <a:t> defines IOAM IPFIX entities.</a:t>
            </a:r>
            <a:endParaRPr kumimoji="0" lang="en-US" sz="150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8" name="Content Placeholder 1">
            <a:extLst>
              <a:ext uri="{FF2B5EF4-FFF2-40B4-BE49-F238E27FC236}">
                <a16:creationId xmlns:a16="http://schemas.microsoft.com/office/drawing/2014/main" id="{E5677CA3-B23A-E701-471E-B07D77B4E223}"/>
              </a:ext>
            </a:extLst>
          </p:cNvPr>
          <p:cNvSpPr txBox="1">
            <a:spLocks/>
          </p:cNvSpPr>
          <p:nvPr/>
        </p:nvSpPr>
        <p:spPr bwMode="black">
          <a:xfrm>
            <a:off x="7229475" y="4381500"/>
            <a:ext cx="1400176" cy="185471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6"/>
              </a:rPr>
              <a:t>RFC 9487</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defines </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Segment Routing Header</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IPFIX entities</a:t>
            </a:r>
            <a:endParaRPr kumimoji="0" lang="en-US" sz="150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9" name="Right Brace 8">
            <a:extLst>
              <a:ext uri="{FF2B5EF4-FFF2-40B4-BE49-F238E27FC236}">
                <a16:creationId xmlns:a16="http://schemas.microsoft.com/office/drawing/2014/main" id="{B670DE5F-A5F9-23E7-3050-437A93C6F879}"/>
              </a:ext>
            </a:extLst>
          </p:cNvPr>
          <p:cNvSpPr/>
          <p:nvPr/>
        </p:nvSpPr>
        <p:spPr bwMode="gray">
          <a:xfrm rot="5400000">
            <a:off x="2751264" y="1491584"/>
            <a:ext cx="364872" cy="3771900"/>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0" name="Right Brace 9">
            <a:extLst>
              <a:ext uri="{FF2B5EF4-FFF2-40B4-BE49-F238E27FC236}">
                <a16:creationId xmlns:a16="http://schemas.microsoft.com/office/drawing/2014/main" id="{D349DEB3-4D3A-5208-B274-3EDB4A2B18F4}"/>
              </a:ext>
            </a:extLst>
          </p:cNvPr>
          <p:cNvSpPr/>
          <p:nvPr/>
        </p:nvSpPr>
        <p:spPr bwMode="gray">
          <a:xfrm rot="5400000">
            <a:off x="6461251" y="1601122"/>
            <a:ext cx="364872" cy="3552825"/>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1" name="Content Placeholder 1">
            <a:extLst>
              <a:ext uri="{FF2B5EF4-FFF2-40B4-BE49-F238E27FC236}">
                <a16:creationId xmlns:a16="http://schemas.microsoft.com/office/drawing/2014/main" id="{8D3FA8E1-4837-ED42-27D3-F4F2A40BAC04}"/>
              </a:ext>
            </a:extLst>
          </p:cNvPr>
          <p:cNvSpPr txBox="1">
            <a:spLocks/>
          </p:cNvSpPr>
          <p:nvPr/>
        </p:nvSpPr>
        <p:spPr bwMode="black">
          <a:xfrm>
            <a:off x="1933576" y="3590388"/>
            <a:ext cx="2095499" cy="3648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lvl="0" algn="l" defTabSz="914400" rtl="0" eaLnBrk="1" fontAlgn="auto" latinLnBrk="0" hangingPunct="1">
              <a:lnSpc>
                <a:spcPct val="110000"/>
              </a:lnSpc>
              <a:spcBef>
                <a:spcPts val="300"/>
              </a:spcBef>
              <a:spcAft>
                <a:spcPts val="300"/>
              </a:spcAft>
              <a:buClr>
                <a:srgbClr val="11AAFF"/>
              </a:buClr>
              <a:buSzTx/>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Hop-by-Hop processed</a:t>
            </a:r>
            <a:endParaRPr kumimoji="0" lang="en-US" sz="1600" i="0" u="none" strike="noStrike" kern="1200" cap="none" spc="0" normalizeH="0" baseline="0" noProof="0" dirty="0">
              <a:ln>
                <a:noFill/>
              </a:ln>
              <a:solidFill>
                <a:srgbClr val="FF0000"/>
              </a:solidFill>
              <a:effectLst/>
              <a:uLnTx/>
              <a:uFillTx/>
              <a:latin typeface="TheSans Swisscom Light"/>
              <a:ea typeface="+mn-ea"/>
              <a:cs typeface="+mn-cs"/>
            </a:endParaRPr>
          </a:p>
        </p:txBody>
      </p:sp>
      <p:sp>
        <p:nvSpPr>
          <p:cNvPr id="12" name="Content Placeholder 1">
            <a:extLst>
              <a:ext uri="{FF2B5EF4-FFF2-40B4-BE49-F238E27FC236}">
                <a16:creationId xmlns:a16="http://schemas.microsoft.com/office/drawing/2014/main" id="{BB2371D0-B9FE-D913-1ABB-EE7D8DF2A325}"/>
              </a:ext>
            </a:extLst>
          </p:cNvPr>
          <p:cNvSpPr txBox="1">
            <a:spLocks/>
          </p:cNvSpPr>
          <p:nvPr/>
        </p:nvSpPr>
        <p:spPr bwMode="black">
          <a:xfrm>
            <a:off x="5691187" y="3590388"/>
            <a:ext cx="2095499" cy="3648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lvl="0" algn="l" defTabSz="914400" rtl="0" eaLnBrk="1" fontAlgn="auto" latinLnBrk="0" hangingPunct="1">
              <a:lnSpc>
                <a:spcPct val="110000"/>
              </a:lnSpc>
              <a:spcBef>
                <a:spcPts val="300"/>
              </a:spcBef>
              <a:spcAft>
                <a:spcPts val="300"/>
              </a:spcAft>
              <a:buClr>
                <a:srgbClr val="11AAFF"/>
              </a:buClr>
              <a:buSzTx/>
              <a:tabLst/>
              <a:defRPr/>
            </a:pPr>
            <a:r>
              <a:rPr lang="en-US" b="1" dirty="0">
                <a:solidFill>
                  <a:srgbClr val="FF0000"/>
                </a:solidFill>
                <a:latin typeface="TheSans Swisscom Light"/>
              </a:rPr>
              <a:t>Endpoint</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 processed</a:t>
            </a:r>
            <a:endParaRPr kumimoji="0" lang="en-US" sz="1600" i="0" u="none" strike="noStrike" kern="1200" cap="none" spc="0" normalizeH="0" baseline="0" noProof="0" dirty="0">
              <a:ln>
                <a:noFill/>
              </a:ln>
              <a:solidFill>
                <a:srgbClr val="FF0000"/>
              </a:solidFill>
              <a:effectLst/>
              <a:uLnTx/>
              <a:uFillTx/>
              <a:latin typeface="TheSans Swisscom Light"/>
              <a:ea typeface="+mn-ea"/>
              <a:cs typeface="+mn-cs"/>
            </a:endParaRPr>
          </a:p>
        </p:txBody>
      </p:sp>
      <p:pic>
        <p:nvPicPr>
          <p:cNvPr id="20" name="Picture 19">
            <a:extLst>
              <a:ext uri="{FF2B5EF4-FFF2-40B4-BE49-F238E27FC236}">
                <a16:creationId xmlns:a16="http://schemas.microsoft.com/office/drawing/2014/main" id="{308323BF-D73B-AF00-8DDF-30CFCC18A6A6}"/>
              </a:ext>
            </a:extLst>
          </p:cNvPr>
          <p:cNvPicPr>
            <a:picLocks noChangeAspect="1"/>
          </p:cNvPicPr>
          <p:nvPr/>
        </p:nvPicPr>
        <p:blipFill>
          <a:blip r:embed="rId7"/>
          <a:stretch>
            <a:fillRect/>
          </a:stretch>
        </p:blipFill>
        <p:spPr>
          <a:xfrm>
            <a:off x="895350" y="1892556"/>
            <a:ext cx="10401300" cy="1209675"/>
          </a:xfrm>
          <a:prstGeom prst="rect">
            <a:avLst/>
          </a:prstGeom>
        </p:spPr>
      </p:pic>
      <p:pic>
        <p:nvPicPr>
          <p:cNvPr id="22" name="Picture 21">
            <a:extLst>
              <a:ext uri="{FF2B5EF4-FFF2-40B4-BE49-F238E27FC236}">
                <a16:creationId xmlns:a16="http://schemas.microsoft.com/office/drawing/2014/main" id="{3135CB06-6366-E8A5-0C19-26F32ED0F61C}"/>
              </a:ext>
            </a:extLst>
          </p:cNvPr>
          <p:cNvPicPr>
            <a:picLocks noChangeAspect="1"/>
          </p:cNvPicPr>
          <p:nvPr/>
        </p:nvPicPr>
        <p:blipFill>
          <a:blip r:embed="rId8"/>
          <a:stretch>
            <a:fillRect/>
          </a:stretch>
        </p:blipFill>
        <p:spPr>
          <a:xfrm>
            <a:off x="1214437" y="3559971"/>
            <a:ext cx="602041" cy="364873"/>
          </a:xfrm>
          <a:prstGeom prst="rect">
            <a:avLst/>
          </a:prstGeom>
        </p:spPr>
      </p:pic>
      <p:pic>
        <p:nvPicPr>
          <p:cNvPr id="23" name="Picture 22">
            <a:extLst>
              <a:ext uri="{FF2B5EF4-FFF2-40B4-BE49-F238E27FC236}">
                <a16:creationId xmlns:a16="http://schemas.microsoft.com/office/drawing/2014/main" id="{63747016-76D5-353E-8259-8DF586E7D8ED}"/>
              </a:ext>
            </a:extLst>
          </p:cNvPr>
          <p:cNvPicPr>
            <a:picLocks noChangeAspect="1"/>
          </p:cNvPicPr>
          <p:nvPr/>
        </p:nvPicPr>
        <p:blipFill>
          <a:blip r:embed="rId8"/>
          <a:stretch>
            <a:fillRect/>
          </a:stretch>
        </p:blipFill>
        <p:spPr>
          <a:xfrm>
            <a:off x="4986337" y="3559971"/>
            <a:ext cx="602041" cy="364873"/>
          </a:xfrm>
          <a:prstGeom prst="rect">
            <a:avLst/>
          </a:prstGeom>
        </p:spPr>
      </p:pic>
    </p:spTree>
    <p:extLst>
      <p:ext uri="{BB962C8B-B14F-4D97-AF65-F5344CB8AC3E}">
        <p14:creationId xmlns:p14="http://schemas.microsoft.com/office/powerpoint/2010/main" val="23787370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a:extLst>
              <a:ext uri="{FF2B5EF4-FFF2-40B4-BE49-F238E27FC236}">
                <a16:creationId xmlns:a16="http://schemas.microsoft.com/office/drawing/2014/main" id="{F0F1E9D6-10B1-F83D-34D5-27D029B3114F}"/>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3241"/>
          <a:stretch/>
        </p:blipFill>
        <p:spPr bwMode="auto">
          <a:xfrm rot="16200000">
            <a:off x="-548774" y="-654091"/>
            <a:ext cx="9287173" cy="9476204"/>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ext Placeholder 10">
            <a:extLst>
              <a:ext uri="{FF2B5EF4-FFF2-40B4-BE49-F238E27FC236}">
                <a16:creationId xmlns:a16="http://schemas.microsoft.com/office/drawing/2014/main" id="{94D1457C-AEF2-95BD-FBF7-B63B661B23C4}"/>
              </a:ext>
            </a:extLst>
          </p:cNvPr>
          <p:cNvSpPr txBox="1">
            <a:spLocks/>
          </p:cNvSpPr>
          <p:nvPr/>
        </p:nvSpPr>
        <p:spPr bwMode="black">
          <a:xfrm>
            <a:off x="7741430" y="1475305"/>
            <a:ext cx="3971855" cy="3540832"/>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700" b="1" i="0" u="none" strike="noStrike" kern="1200" cap="none" spc="-50" normalizeH="0" baseline="0" noProof="0" dirty="0">
              <a:ln>
                <a:noFill/>
              </a:ln>
              <a:solidFill>
                <a:srgbClr val="333333"/>
              </a:solidFill>
              <a:effectLst/>
              <a:uLnTx/>
              <a:uFillTx/>
              <a:latin typeface="TheSans Swisscom Ligh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700" b="1" i="0" u="none" strike="noStrike" kern="1200" cap="none" spc="-50" normalizeH="0" baseline="0" noProof="0" dirty="0">
                <a:ln>
                  <a:noFill/>
                </a:ln>
                <a:solidFill>
                  <a:srgbClr val="333333"/>
                </a:solidFill>
                <a:effectLst/>
                <a:uLnTx/>
                <a:uFillTx/>
                <a:latin typeface="TheSans Swisscom Light"/>
                <a:ea typeface="+mn-ea"/>
                <a:cs typeface="+mn-cs"/>
              </a:rPr>
              <a:t>Network Observability</a:t>
            </a:r>
            <a:br>
              <a:rPr kumimoji="0" lang="en-US" sz="2700" b="1" i="0" u="none" strike="noStrike" kern="1200" cap="none" spc="-50" normalizeH="0" baseline="0" noProof="0" dirty="0">
                <a:ln>
                  <a:noFill/>
                </a:ln>
                <a:solidFill>
                  <a:srgbClr val="333333"/>
                </a:solidFill>
                <a:effectLst/>
                <a:uLnTx/>
                <a:uFillTx/>
                <a:latin typeface="TheSans Swisscom Light"/>
                <a:ea typeface="+mn-ea"/>
                <a:cs typeface="+mn-cs"/>
              </a:rPr>
            </a:br>
            <a:endParaRPr kumimoji="0" lang="en-US" sz="2700" b="1" i="0" u="none" strike="noStrike" kern="1200" cap="none" spc="-50" normalizeH="0" baseline="0" noProof="0" dirty="0">
              <a:ln>
                <a:noFill/>
              </a:ln>
              <a:solidFill>
                <a:srgbClr val="321A10"/>
              </a:solidFill>
              <a:effectLst/>
              <a:uLnTx/>
              <a:uFillTx/>
              <a:latin typeface="TheSans Swisscom Ligh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700" b="1" i="0" u="none" strike="noStrike" kern="1200" cap="none" spc="-50" normalizeH="0" baseline="0" noProof="0" dirty="0">
                <a:ln>
                  <a:noFill/>
                </a:ln>
                <a:solidFill>
                  <a:srgbClr val="FF0000"/>
                </a:solidFill>
                <a:effectLst/>
                <a:uLnTx/>
                <a:uFillTx/>
                <a:latin typeface="TheSans Swisscom Light"/>
                <a:ea typeface="+mn-ea"/>
                <a:cs typeface="+mn-cs"/>
              </a:rPr>
              <a:t>System Demo</a:t>
            </a:r>
            <a:br>
              <a:rPr kumimoji="0" lang="en-US" sz="2000" b="1" i="0" u="none" strike="noStrike" kern="1200" cap="none" spc="-50" normalizeH="0" baseline="0" noProof="0" dirty="0">
                <a:ln>
                  <a:noFill/>
                </a:ln>
                <a:solidFill>
                  <a:srgbClr val="321A10"/>
                </a:solidFill>
                <a:effectLst/>
                <a:uLnTx/>
                <a:uFillTx/>
                <a:latin typeface="TheSans Swisscom Light"/>
                <a:ea typeface="+mn-ea"/>
                <a:cs typeface="+mn-cs"/>
              </a:rPr>
            </a:br>
            <a:b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br>
            <a: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t>Detect L3 VPN Topology changes </a:t>
            </a:r>
            <a:b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br>
            <a: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t>and its Forwarding Plane impact</a:t>
            </a:r>
            <a:b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br>
            <a: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t>in </a:t>
            </a:r>
            <a:r>
              <a:rPr kumimoji="0" lang="en-US" sz="2000" b="1" i="0" u="none" strike="noStrike" kern="1200" cap="none" spc="-50" normalizeH="0" baseline="0" noProof="0" dirty="0">
                <a:ln>
                  <a:noFill/>
                </a:ln>
                <a:solidFill>
                  <a:srgbClr val="FF0000"/>
                </a:solidFill>
                <a:effectLst/>
                <a:uLnTx/>
                <a:uFillTx/>
                <a:latin typeface="TheSans Swisscom Light"/>
                <a:ea typeface="+mn-ea"/>
                <a:cs typeface="+mn-cs"/>
              </a:rPr>
              <a:t>Near Real-Time</a:t>
            </a:r>
          </a:p>
        </p:txBody>
      </p:sp>
      <p:pic>
        <p:nvPicPr>
          <p:cNvPr id="5" name="Picture 4">
            <a:extLst>
              <a:ext uri="{FF2B5EF4-FFF2-40B4-BE49-F238E27FC236}">
                <a16:creationId xmlns:a16="http://schemas.microsoft.com/office/drawing/2014/main" id="{61C68E00-6D94-F42D-C3EE-88A0B5A5937D}"/>
              </a:ext>
            </a:extLst>
          </p:cNvPr>
          <p:cNvPicPr>
            <a:picLocks noChangeAspect="1"/>
          </p:cNvPicPr>
          <p:nvPr/>
        </p:nvPicPr>
        <p:blipFill>
          <a:blip r:embed="rId4"/>
          <a:stretch>
            <a:fillRect/>
          </a:stretch>
        </p:blipFill>
        <p:spPr>
          <a:xfrm>
            <a:off x="1138390" y="1132113"/>
            <a:ext cx="5767508" cy="4345577"/>
          </a:xfrm>
          <a:prstGeom prst="rect">
            <a:avLst/>
          </a:prstGeom>
        </p:spPr>
      </p:pic>
      <p:cxnSp>
        <p:nvCxnSpPr>
          <p:cNvPr id="7" name="Straight Connector 6">
            <a:extLst>
              <a:ext uri="{FF2B5EF4-FFF2-40B4-BE49-F238E27FC236}">
                <a16:creationId xmlns:a16="http://schemas.microsoft.com/office/drawing/2014/main" id="{B36ECB33-A792-C7CE-A3DA-9B928204F1D8}"/>
              </a:ext>
            </a:extLst>
          </p:cNvPr>
          <p:cNvCxnSpPr>
            <a:cxnSpLocks/>
          </p:cNvCxnSpPr>
          <p:nvPr/>
        </p:nvCxnSpPr>
        <p:spPr>
          <a:xfrm>
            <a:off x="1720179"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14" name="Straight Connector 13">
            <a:extLst>
              <a:ext uri="{FF2B5EF4-FFF2-40B4-BE49-F238E27FC236}">
                <a16:creationId xmlns:a16="http://schemas.microsoft.com/office/drawing/2014/main" id="{DF8FFC08-AD32-126D-410C-DE1D65099B3F}"/>
              </a:ext>
            </a:extLst>
          </p:cNvPr>
          <p:cNvCxnSpPr>
            <a:cxnSpLocks/>
          </p:cNvCxnSpPr>
          <p:nvPr/>
        </p:nvCxnSpPr>
        <p:spPr>
          <a:xfrm>
            <a:off x="2565963"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15" name="Straight Connector 14">
            <a:extLst>
              <a:ext uri="{FF2B5EF4-FFF2-40B4-BE49-F238E27FC236}">
                <a16:creationId xmlns:a16="http://schemas.microsoft.com/office/drawing/2014/main" id="{3AB90515-8012-B50E-1F7E-08EFEAD19B7A}"/>
              </a:ext>
            </a:extLst>
          </p:cNvPr>
          <p:cNvCxnSpPr>
            <a:cxnSpLocks/>
          </p:cNvCxnSpPr>
          <p:nvPr/>
        </p:nvCxnSpPr>
        <p:spPr>
          <a:xfrm>
            <a:off x="4968685"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8BAB2A93-1FD4-1171-26E5-EFE2B463BEA8}"/>
              </a:ext>
            </a:extLst>
          </p:cNvPr>
          <p:cNvCxnSpPr>
            <a:cxnSpLocks/>
          </p:cNvCxnSpPr>
          <p:nvPr/>
        </p:nvCxnSpPr>
        <p:spPr>
          <a:xfrm>
            <a:off x="5731040"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99023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BODYSTYLE" val="1"/>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2.xml><?xml version="1.0" encoding="utf-8"?>
<p:tagLst xmlns:a="http://schemas.openxmlformats.org/drawingml/2006/main" xmlns:r="http://schemas.openxmlformats.org/officeDocument/2006/relationships" xmlns:p="http://schemas.openxmlformats.org/presentationml/2006/main">
  <p:tag name="VCT_BODYSTYLE" val="1"/>
</p:tagLst>
</file>

<file path=ppt/tags/tag3.xml><?xml version="1.0" encoding="utf-8"?>
<p:tagLst xmlns:a="http://schemas.openxmlformats.org/drawingml/2006/main" xmlns:r="http://schemas.openxmlformats.org/officeDocument/2006/relationships" xmlns:p="http://schemas.openxmlformats.org/presentationml/2006/main">
  <p:tag name="VCT_BODYSTYLE" val="1"/>
</p:tagLst>
</file>

<file path=ppt/tags/tag4.xml><?xml version="1.0" encoding="utf-8"?>
<p:tagLst xmlns:a="http://schemas.openxmlformats.org/drawingml/2006/main" xmlns:r="http://schemas.openxmlformats.org/officeDocument/2006/relationships" xmlns:p="http://schemas.openxmlformats.org/presentationml/2006/main">
  <p:tag name="VCT_BODYSTYLE" val="1"/>
</p:tagLst>
</file>

<file path=ppt/tags/tag5.xml><?xml version="1.0" encoding="utf-8"?>
<p:tagLst xmlns:a="http://schemas.openxmlformats.org/drawingml/2006/main" xmlns:r="http://schemas.openxmlformats.org/officeDocument/2006/relationships" xmlns:p="http://schemas.openxmlformats.org/presentationml/2006/main">
  <p:tag name="VCT_BODYSTYLE" val="1"/>
</p:tagLst>
</file>

<file path=ppt/tags/tag6.xml><?xml version="1.0" encoding="utf-8"?>
<p:tagLst xmlns:a="http://schemas.openxmlformats.org/drawingml/2006/main" xmlns:r="http://schemas.openxmlformats.org/officeDocument/2006/relationships" xmlns:p="http://schemas.openxmlformats.org/presentationml/2006/main">
  <p:tag name="VCT_BODYSTYLE" val="1"/>
</p:tagLst>
</file>

<file path=ppt/tags/tag7.xml><?xml version="1.0" encoding="utf-8"?>
<p:tagLst xmlns:a="http://schemas.openxmlformats.org/drawingml/2006/main" xmlns:r="http://schemas.openxmlformats.org/officeDocument/2006/relationships" xmlns:p="http://schemas.openxmlformats.org/presentationml/2006/main">
  <p:tag name="VCT_BODYSTYLE" val="1"/>
</p:tagLst>
</file>

<file path=ppt/tags/tag8.xml><?xml version="1.0" encoding="utf-8"?>
<p:tagLst xmlns:a="http://schemas.openxmlformats.org/drawingml/2006/main" xmlns:r="http://schemas.openxmlformats.org/officeDocument/2006/relationships" xmlns:p="http://schemas.openxmlformats.org/presentationml/2006/main">
  <p:tag name="VCT_BODYSTYLE" val="1"/>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5454</Words>
  <Application>Microsoft Office PowerPoint</Application>
  <PresentationFormat>Widescreen</PresentationFormat>
  <Paragraphs>550</Paragraphs>
  <Slides>44</Slides>
  <Notes>37</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4</vt:i4>
      </vt:variant>
    </vt:vector>
  </HeadingPairs>
  <TitlesOfParts>
    <vt:vector size="53" baseType="lpstr">
      <vt:lpstr>Arial</vt:lpstr>
      <vt:lpstr>Calibri</vt:lpstr>
      <vt:lpstr>Calibri Light</vt:lpstr>
      <vt:lpstr>Courier New</vt:lpstr>
      <vt:lpstr>Lato</vt:lpstr>
      <vt:lpstr>TheSans Swisscom</vt:lpstr>
      <vt:lpstr>TheSans Swisscom Light</vt:lpstr>
      <vt:lpstr>Wingdings</vt:lpstr>
      <vt:lpstr>Office Theme</vt:lpstr>
      <vt:lpstr>PowerPoint Presentation</vt:lpstr>
      <vt:lpstr>Data Mesh organizes Data in Organizations Enables Network Analytics use cases</vt:lpstr>
      <vt:lpstr>What to monitor Which operational metrics are collected</vt:lpstr>
      <vt:lpstr>Monitoring L3 VPN's with IPFIX, BMP and YANG Push From Connectivity Service to Realtime Network Analytics</vt:lpstr>
      <vt:lpstr>Segment Routing IPv6 Encapsulation RFC 9487 provides IPFIX Visibility</vt:lpstr>
      <vt:lpstr>BMP – Address Family Agnostic RFC 9069 provides Local RIB Visibility</vt:lpstr>
      <vt:lpstr>Measure On-Path Delay with Network Context With draft-ietf-opsawg-ipfix-on-path-telemetry</vt:lpstr>
      <vt:lpstr>IPFIX provides statistical data plane visibility Comprehensive IPv6 data plane coverage</vt:lpstr>
      <vt:lpstr>PowerPoint Presentation</vt:lpstr>
      <vt:lpstr>What does Network Anomaly Detection mean Monitor changes, called outliers, in networks</vt:lpstr>
      <vt:lpstr>What our motivation is Automate learn and improve</vt:lpstr>
      <vt:lpstr>Elements of the Architecture </vt:lpstr>
      <vt:lpstr>Semantic Metadata Annotation for Network Anomaly Detection draft-netana-nmop-network-anomaly-semantics</vt:lpstr>
      <vt:lpstr>Experiment: Network Anomaly Lifecycle draft-netana-nmop-network-anomaly-lifecycle</vt:lpstr>
      <vt:lpstr>Experiment: Network Anomaly Lifecycle draft-netana-nmop-network-anomaly-lifecycle</vt:lpstr>
      <vt:lpstr>Experiment: Network Anomaly Lifecycle draft-netana-nmop-network-anomaly-lifecycle</vt:lpstr>
      <vt:lpstr>Experiment: Antagonist anomaly tagging on historical data</vt:lpstr>
      <vt:lpstr>Experiment: Antagonist anomaly tagging on historical data</vt:lpstr>
      <vt:lpstr>Experiment: Antagonist Supported YANG Models</vt:lpstr>
      <vt:lpstr>Detector (1 / 2)</vt:lpstr>
      <vt:lpstr>Detector (1 / 2)</vt:lpstr>
      <vt:lpstr>Generation of Dashboards</vt:lpstr>
      <vt:lpstr>Label Validation - Tagging Network Anomalies</vt:lpstr>
      <vt:lpstr>Label Validation - Tagging Symptoms</vt:lpstr>
      <vt:lpstr>Label Validation - Analysing and editing network anomalies</vt:lpstr>
      <vt:lpstr>Label Validation - Analysing and editing network anomalies</vt:lpstr>
      <vt:lpstr>Refinement (Retraining)</vt:lpstr>
      <vt:lpstr>SAIN (1 / 2)</vt:lpstr>
      <vt:lpstr>SAIN (2 / 2)</vt:lpstr>
      <vt:lpstr>Postmortem, L3 VPN Pilot Migration - Voice Over IP Post Maintenance Window Analysis</vt:lpstr>
      <vt:lpstr>Postmortem, L3 VPN Pilot Migration - Voice Over IP Show command drove to wrong conclusion</vt:lpstr>
      <vt:lpstr>Postmortem, L3 VPN Pilot Migration - Voice Over IP Data collection timestamp drove to wrong conclusion</vt:lpstr>
      <vt:lpstr>Postmortem, L3 VPN Pilot Migration - Voice Over IP Route-Reflector Peering and L3 VPN Traffic View</vt:lpstr>
      <vt:lpstr>Postmortem, L3 VPN Pilot Migration - Voice Over IP 64497:4965 - Anomaly Detection - Live</vt:lpstr>
      <vt:lpstr>PowerPoint Presentation</vt:lpstr>
      <vt:lpstr>Swisscom - Cosmos Bright Lights PoC Summary After 20 Incidents and 18 Months Time</vt:lpstr>
      <vt:lpstr>Swisscom - Cosmos Bright Lights PoC Detail Multiple Perspectives increases Accuracy</vt:lpstr>
      <vt:lpstr>Network Anomaly Detection Framework Detect service interruption faster then humans can</vt:lpstr>
      <vt:lpstr>Relevant Papers for more Details</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ddress YANG Specification and Integration Gaps Aiming for an automated data processing pipeli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72</cp:revision>
  <dcterms:created xsi:type="dcterms:W3CDTF">2019-11-29T14:22:02Z</dcterms:created>
  <dcterms:modified xsi:type="dcterms:W3CDTF">2024-07-15T10:2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